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fif"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Lst>
  <p:notesMasterIdLst>
    <p:notesMasterId r:id="rId27"/>
  </p:notesMasterIdLst>
  <p:sldIdLst>
    <p:sldId id="256" r:id="rId2"/>
    <p:sldId id="259" r:id="rId3"/>
    <p:sldId id="258" r:id="rId4"/>
    <p:sldId id="260" r:id="rId5"/>
    <p:sldId id="263" r:id="rId6"/>
    <p:sldId id="282" r:id="rId7"/>
    <p:sldId id="291" r:id="rId8"/>
    <p:sldId id="292" r:id="rId9"/>
    <p:sldId id="293" r:id="rId10"/>
    <p:sldId id="294" r:id="rId11"/>
    <p:sldId id="286" r:id="rId12"/>
    <p:sldId id="287" r:id="rId13"/>
    <p:sldId id="283" r:id="rId14"/>
    <p:sldId id="303" r:id="rId15"/>
    <p:sldId id="309" r:id="rId16"/>
    <p:sldId id="302" r:id="rId17"/>
    <p:sldId id="304" r:id="rId18"/>
    <p:sldId id="305" r:id="rId19"/>
    <p:sldId id="306" r:id="rId20"/>
    <p:sldId id="308" r:id="rId21"/>
    <p:sldId id="307" r:id="rId22"/>
    <p:sldId id="284" r:id="rId23"/>
    <p:sldId id="257" r:id="rId24"/>
    <p:sldId id="288" r:id="rId25"/>
    <p:sldId id="270" r:id="rId26"/>
  </p:sldIdLst>
  <p:sldSz cx="9144000" cy="5143500" type="screen16x9"/>
  <p:notesSz cx="6858000" cy="9144000"/>
  <p:embeddedFontLst>
    <p:embeddedFont>
      <p:font typeface="Bebas Neue" panose="020B0606020202050201" pitchFamily="34" charset="0"/>
      <p:regular r:id="rId28"/>
    </p:embeddedFont>
    <p:embeddedFont>
      <p:font typeface="Inter" panose="020B0604020202020204" charset="0"/>
      <p:regular r:id="rId29"/>
      <p:bold r:id="rId30"/>
      <p:italic r:id="rId31"/>
      <p:boldItalic r:id="rId32"/>
    </p:embeddedFont>
    <p:embeddedFont>
      <p:font typeface="Passion One" panose="020B0604020202020204" charset="0"/>
      <p:regular r:id="rId33"/>
      <p:bold r:id="rId3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E522F3D-4F81-468B-9082-80D2AFF5E1E1}">
  <a:tblStyle styleId="{DE522F3D-4F81-468B-9082-80D2AFF5E1E1}"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84" autoAdjust="0"/>
    <p:restoredTop sz="95097" autoAdjust="0"/>
  </p:normalViewPr>
  <p:slideViewPr>
    <p:cSldViewPr snapToGrid="0">
      <p:cViewPr varScale="1">
        <p:scale>
          <a:sx n="106" d="100"/>
          <a:sy n="106" d="100"/>
        </p:scale>
        <p:origin x="797"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7.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0"/>
        <p:cNvGrpSpPr/>
        <p:nvPr/>
      </p:nvGrpSpPr>
      <p:grpSpPr>
        <a:xfrm>
          <a:off x="0" y="0"/>
          <a:ext cx="0" cy="0"/>
          <a:chOff x="0" y="0"/>
          <a:chExt cx="0" cy="0"/>
        </a:xfrm>
      </p:grpSpPr>
      <p:sp>
        <p:nvSpPr>
          <p:cNvPr id="391" name="Google Shape;391;ged3401ed36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2" name="Google Shape;392;ged3401ed36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642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918809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653854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9"/>
        <p:cNvGrpSpPr/>
        <p:nvPr/>
      </p:nvGrpSpPr>
      <p:grpSpPr>
        <a:xfrm>
          <a:off x="0" y="0"/>
          <a:ext cx="0" cy="0"/>
          <a:chOff x="0" y="0"/>
          <a:chExt cx="0" cy="0"/>
        </a:xfrm>
      </p:grpSpPr>
      <p:sp>
        <p:nvSpPr>
          <p:cNvPr id="570" name="Google Shape;570;ge1d838b627_4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1" name="Google Shape;571;ge1d838b627_4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04197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64229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534878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8099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7856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250089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92411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2"/>
        <p:cNvGrpSpPr/>
        <p:nvPr/>
      </p:nvGrpSpPr>
      <p:grpSpPr>
        <a:xfrm>
          <a:off x="0" y="0"/>
          <a:ext cx="0" cy="0"/>
          <a:chOff x="0" y="0"/>
          <a:chExt cx="0" cy="0"/>
        </a:xfrm>
      </p:grpSpPr>
      <p:sp>
        <p:nvSpPr>
          <p:cNvPr id="553" name="Google Shape;553;ge207fd22f2_0_250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4" name="Google Shape;554;ge207fd22f2_0_250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011582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282846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9"/>
        <p:cNvGrpSpPr/>
        <p:nvPr/>
      </p:nvGrpSpPr>
      <p:grpSpPr>
        <a:xfrm>
          <a:off x="0" y="0"/>
          <a:ext cx="0" cy="0"/>
          <a:chOff x="0" y="0"/>
          <a:chExt cx="0" cy="0"/>
        </a:xfrm>
      </p:grpSpPr>
      <p:sp>
        <p:nvSpPr>
          <p:cNvPr id="570" name="Google Shape;570;ge1d838b627_4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1" name="Google Shape;571;ge1d838b627_4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87401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Google Shape;480;ge1d838b627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1" name="Google Shape;481;ge1d838b627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Google Shape;480;ge1d838b627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1" name="Google Shape;481;ge1d838b627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570277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0"/>
        <p:cNvGrpSpPr/>
        <p:nvPr/>
      </p:nvGrpSpPr>
      <p:grpSpPr>
        <a:xfrm>
          <a:off x="0" y="0"/>
          <a:ext cx="0" cy="0"/>
          <a:chOff x="0" y="0"/>
          <a:chExt cx="0" cy="0"/>
        </a:xfrm>
      </p:grpSpPr>
      <p:sp>
        <p:nvSpPr>
          <p:cNvPr id="901" name="Google Shape;901;ge1d838b627_4_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2" name="Google Shape;902;ge1d838b627_4_1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Google Shape;522;ge1d838b627_0_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3" name="Google Shape;523;ge1d838b627_0_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9"/>
        <p:cNvGrpSpPr/>
        <p:nvPr/>
      </p:nvGrpSpPr>
      <p:grpSpPr>
        <a:xfrm>
          <a:off x="0" y="0"/>
          <a:ext cx="0" cy="0"/>
          <a:chOff x="0" y="0"/>
          <a:chExt cx="0" cy="0"/>
        </a:xfrm>
      </p:grpSpPr>
      <p:sp>
        <p:nvSpPr>
          <p:cNvPr id="570" name="Google Shape;570;ge1d838b627_4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1" name="Google Shape;571;ge1d838b627_4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4"/>
        <p:cNvGrpSpPr/>
        <p:nvPr/>
      </p:nvGrpSpPr>
      <p:grpSpPr>
        <a:xfrm>
          <a:off x="0" y="0"/>
          <a:ext cx="0" cy="0"/>
          <a:chOff x="0" y="0"/>
          <a:chExt cx="0" cy="0"/>
        </a:xfrm>
      </p:grpSpPr>
      <p:sp>
        <p:nvSpPr>
          <p:cNvPr id="655" name="Google Shape;655;ge1d838b627_4_1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6" name="Google Shape;656;ge1d838b627_4_1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9"/>
        <p:cNvGrpSpPr/>
        <p:nvPr/>
      </p:nvGrpSpPr>
      <p:grpSpPr>
        <a:xfrm>
          <a:off x="0" y="0"/>
          <a:ext cx="0" cy="0"/>
          <a:chOff x="0" y="0"/>
          <a:chExt cx="0" cy="0"/>
        </a:xfrm>
      </p:grpSpPr>
      <p:sp>
        <p:nvSpPr>
          <p:cNvPr id="570" name="Google Shape;570;ge1d838b627_4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1" name="Google Shape;571;ge1d838b627_4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74855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87900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66884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2"/>
        <p:cNvGrpSpPr/>
        <p:nvPr/>
      </p:nvGrpSpPr>
      <p:grpSpPr>
        <a:xfrm>
          <a:off x="0" y="0"/>
          <a:ext cx="0" cy="0"/>
          <a:chOff x="0" y="0"/>
          <a:chExt cx="0" cy="0"/>
        </a:xfrm>
      </p:grpSpPr>
      <p:sp>
        <p:nvSpPr>
          <p:cNvPr id="853" name="Google Shape;853;g27eff44cef2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4" name="Google Shape;854;g27eff44cef2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64672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p:nvPr/>
        </p:nvSpPr>
        <p:spPr>
          <a:xfrm>
            <a:off x="-1545187" y="2539113"/>
            <a:ext cx="2909077" cy="2909077"/>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0" name="Google Shape;10;p2"/>
          <p:cNvSpPr/>
          <p:nvPr/>
        </p:nvSpPr>
        <p:spPr>
          <a:xfrm>
            <a:off x="7073900" y="4334213"/>
            <a:ext cx="2909077" cy="2909077"/>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 name="Google Shape;11;p2"/>
          <p:cNvSpPr/>
          <p:nvPr/>
        </p:nvSpPr>
        <p:spPr>
          <a:xfrm>
            <a:off x="-90650" y="-73963"/>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 name="Google Shape;12;p2"/>
          <p:cNvSpPr/>
          <p:nvPr/>
        </p:nvSpPr>
        <p:spPr>
          <a:xfrm>
            <a:off x="8488469" y="990668"/>
            <a:ext cx="2306972" cy="2306972"/>
          </a:xfrm>
          <a:custGeom>
            <a:avLst/>
            <a:gdLst/>
            <a:ahLst/>
            <a:cxnLst/>
            <a:rect l="l" t="t" r="r" b="b"/>
            <a:pathLst>
              <a:path w="2306972" h="2306972" extrusionOk="0">
                <a:moveTo>
                  <a:pt x="2306973" y="1153486"/>
                </a:moveTo>
                <a:cubicBezTo>
                  <a:pt x="2306973" y="1790539"/>
                  <a:pt x="1790539" y="2306973"/>
                  <a:pt x="1153486" y="2306973"/>
                </a:cubicBezTo>
                <a:cubicBezTo>
                  <a:pt x="516433" y="2306973"/>
                  <a:pt x="0" y="1790539"/>
                  <a:pt x="0" y="1153486"/>
                </a:cubicBezTo>
                <a:cubicBezTo>
                  <a:pt x="0" y="516434"/>
                  <a:pt x="516433" y="0"/>
                  <a:pt x="1153486" y="0"/>
                </a:cubicBezTo>
                <a:cubicBezTo>
                  <a:pt x="1790539" y="0"/>
                  <a:pt x="2306973" y="516433"/>
                  <a:pt x="2306973" y="1153486"/>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 name="Google Shape;13;p2"/>
          <p:cNvSpPr/>
          <p:nvPr/>
        </p:nvSpPr>
        <p:spPr>
          <a:xfrm>
            <a:off x="431847" y="3177967"/>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4" name="Google Shape;14;p2"/>
          <p:cNvSpPr/>
          <p:nvPr/>
        </p:nvSpPr>
        <p:spPr>
          <a:xfrm rot="-2700000">
            <a:off x="8734960" y="342095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 name="Google Shape;15;p2"/>
          <p:cNvSpPr/>
          <p:nvPr/>
        </p:nvSpPr>
        <p:spPr>
          <a:xfrm rot="-2700000">
            <a:off x="8734956" y="47086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6" name="Google Shape;16;p2"/>
          <p:cNvSpPr/>
          <p:nvPr/>
        </p:nvSpPr>
        <p:spPr>
          <a:xfrm rot="-2700000">
            <a:off x="3258027" y="294804"/>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7" name="Google Shape;17;p2"/>
          <p:cNvSpPr/>
          <p:nvPr/>
        </p:nvSpPr>
        <p:spPr>
          <a:xfrm rot="-2700000">
            <a:off x="2091794" y="4654300"/>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8" name="Google Shape;18;p2"/>
          <p:cNvSpPr/>
          <p:nvPr/>
        </p:nvSpPr>
        <p:spPr>
          <a:xfrm rot="-2700000">
            <a:off x="266135" y="189449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9" name="Google Shape;19;p2"/>
          <p:cNvSpPr/>
          <p:nvPr/>
        </p:nvSpPr>
        <p:spPr>
          <a:xfrm>
            <a:off x="6495722" y="171242"/>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0" name="Google Shape;20;p2"/>
          <p:cNvSpPr/>
          <p:nvPr/>
        </p:nvSpPr>
        <p:spPr>
          <a:xfrm>
            <a:off x="5548472" y="4814317"/>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1" name="Google Shape;21;p2"/>
          <p:cNvSpPr txBox="1">
            <a:spLocks noGrp="1"/>
          </p:cNvSpPr>
          <p:nvPr>
            <p:ph type="ctrTitle"/>
          </p:nvPr>
        </p:nvSpPr>
        <p:spPr>
          <a:xfrm>
            <a:off x="1814850" y="1577788"/>
            <a:ext cx="5514300" cy="1743900"/>
          </a:xfrm>
          <a:prstGeom prst="rect">
            <a:avLst/>
          </a:prstGeom>
        </p:spPr>
        <p:txBody>
          <a:bodyPr spcFirstLastPara="1" wrap="square" lIns="91425" tIns="91425" rIns="91425" bIns="91425" anchor="ctr" anchorCtr="0">
            <a:noAutofit/>
          </a:bodyPr>
          <a:lstStyle>
            <a:lvl1pPr lvl="0" algn="ctr">
              <a:lnSpc>
                <a:spcPct val="90000"/>
              </a:lnSpc>
              <a:spcBef>
                <a:spcPts val="0"/>
              </a:spcBef>
              <a:spcAft>
                <a:spcPts val="0"/>
              </a:spcAft>
              <a:buClr>
                <a:srgbClr val="191919"/>
              </a:buClr>
              <a:buSzPts val="5200"/>
              <a:buNone/>
              <a:defRPr sz="6400"/>
            </a:lvl1pPr>
            <a:lvl2pPr lvl="1" algn="ctr">
              <a:spcBef>
                <a:spcPts val="0"/>
              </a:spcBef>
              <a:spcAft>
                <a:spcPts val="0"/>
              </a:spcAft>
              <a:buClr>
                <a:srgbClr val="191919"/>
              </a:buClr>
              <a:buSzPts val="5200"/>
              <a:buNone/>
              <a:defRPr sz="5200">
                <a:solidFill>
                  <a:srgbClr val="191919"/>
                </a:solidFill>
              </a:defRPr>
            </a:lvl2pPr>
            <a:lvl3pPr lvl="2" algn="ctr">
              <a:spcBef>
                <a:spcPts val="0"/>
              </a:spcBef>
              <a:spcAft>
                <a:spcPts val="0"/>
              </a:spcAft>
              <a:buClr>
                <a:srgbClr val="191919"/>
              </a:buClr>
              <a:buSzPts val="5200"/>
              <a:buNone/>
              <a:defRPr sz="5200">
                <a:solidFill>
                  <a:srgbClr val="191919"/>
                </a:solidFill>
              </a:defRPr>
            </a:lvl3pPr>
            <a:lvl4pPr lvl="3" algn="ctr">
              <a:spcBef>
                <a:spcPts val="0"/>
              </a:spcBef>
              <a:spcAft>
                <a:spcPts val="0"/>
              </a:spcAft>
              <a:buClr>
                <a:srgbClr val="191919"/>
              </a:buClr>
              <a:buSzPts val="5200"/>
              <a:buNone/>
              <a:defRPr sz="5200">
                <a:solidFill>
                  <a:srgbClr val="191919"/>
                </a:solidFill>
              </a:defRPr>
            </a:lvl4pPr>
            <a:lvl5pPr lvl="4" algn="ctr">
              <a:spcBef>
                <a:spcPts val="0"/>
              </a:spcBef>
              <a:spcAft>
                <a:spcPts val="0"/>
              </a:spcAft>
              <a:buClr>
                <a:srgbClr val="191919"/>
              </a:buClr>
              <a:buSzPts val="5200"/>
              <a:buNone/>
              <a:defRPr sz="5200">
                <a:solidFill>
                  <a:srgbClr val="191919"/>
                </a:solidFill>
              </a:defRPr>
            </a:lvl5pPr>
            <a:lvl6pPr lvl="5" algn="ctr">
              <a:spcBef>
                <a:spcPts val="0"/>
              </a:spcBef>
              <a:spcAft>
                <a:spcPts val="0"/>
              </a:spcAft>
              <a:buClr>
                <a:srgbClr val="191919"/>
              </a:buClr>
              <a:buSzPts val="5200"/>
              <a:buNone/>
              <a:defRPr sz="5200">
                <a:solidFill>
                  <a:srgbClr val="191919"/>
                </a:solidFill>
              </a:defRPr>
            </a:lvl6pPr>
            <a:lvl7pPr lvl="6" algn="ctr">
              <a:spcBef>
                <a:spcPts val="0"/>
              </a:spcBef>
              <a:spcAft>
                <a:spcPts val="0"/>
              </a:spcAft>
              <a:buClr>
                <a:srgbClr val="191919"/>
              </a:buClr>
              <a:buSzPts val="5200"/>
              <a:buNone/>
              <a:defRPr sz="5200">
                <a:solidFill>
                  <a:srgbClr val="191919"/>
                </a:solidFill>
              </a:defRPr>
            </a:lvl7pPr>
            <a:lvl8pPr lvl="7" algn="ctr">
              <a:spcBef>
                <a:spcPts val="0"/>
              </a:spcBef>
              <a:spcAft>
                <a:spcPts val="0"/>
              </a:spcAft>
              <a:buClr>
                <a:srgbClr val="191919"/>
              </a:buClr>
              <a:buSzPts val="5200"/>
              <a:buNone/>
              <a:defRPr sz="5200">
                <a:solidFill>
                  <a:srgbClr val="191919"/>
                </a:solidFill>
              </a:defRPr>
            </a:lvl8pPr>
            <a:lvl9pPr lvl="8" algn="ctr">
              <a:spcBef>
                <a:spcPts val="0"/>
              </a:spcBef>
              <a:spcAft>
                <a:spcPts val="0"/>
              </a:spcAft>
              <a:buClr>
                <a:srgbClr val="191919"/>
              </a:buClr>
              <a:buSzPts val="5200"/>
              <a:buNone/>
              <a:defRPr sz="5200">
                <a:solidFill>
                  <a:srgbClr val="191919"/>
                </a:solidFill>
              </a:defRPr>
            </a:lvl9pPr>
          </a:lstStyle>
          <a:p>
            <a:endParaRPr/>
          </a:p>
        </p:txBody>
      </p:sp>
      <p:sp>
        <p:nvSpPr>
          <p:cNvPr id="22" name="Google Shape;22;p2"/>
          <p:cNvSpPr txBox="1">
            <a:spLocks noGrp="1"/>
          </p:cNvSpPr>
          <p:nvPr>
            <p:ph type="subTitle" idx="1"/>
          </p:nvPr>
        </p:nvSpPr>
        <p:spPr>
          <a:xfrm>
            <a:off x="2430150" y="3547500"/>
            <a:ext cx="4283700" cy="450000"/>
          </a:xfrm>
          <a:prstGeom prst="rect">
            <a:avLst/>
          </a:prstGeom>
          <a:solidFill>
            <a:schemeClr val="dk2"/>
          </a:solid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1400"/>
              <a:buNone/>
              <a:defRPr sz="1600"/>
            </a:lvl1pPr>
            <a:lvl2pPr lvl="1" algn="ctr">
              <a:lnSpc>
                <a:spcPct val="100000"/>
              </a:lnSpc>
              <a:spcBef>
                <a:spcPts val="0"/>
              </a:spcBef>
              <a:spcAft>
                <a:spcPts val="0"/>
              </a:spcAft>
              <a:buSzPts val="1800"/>
              <a:buNone/>
              <a:defRPr sz="1800"/>
            </a:lvl2pPr>
            <a:lvl3pPr lvl="2" algn="ctr">
              <a:lnSpc>
                <a:spcPct val="100000"/>
              </a:lnSpc>
              <a:spcBef>
                <a:spcPts val="0"/>
              </a:spcBef>
              <a:spcAft>
                <a:spcPts val="0"/>
              </a:spcAft>
              <a:buSzPts val="1800"/>
              <a:buNone/>
              <a:defRPr sz="1800"/>
            </a:lvl3pPr>
            <a:lvl4pPr lvl="3" algn="ctr">
              <a:lnSpc>
                <a:spcPct val="100000"/>
              </a:lnSpc>
              <a:spcBef>
                <a:spcPts val="0"/>
              </a:spcBef>
              <a:spcAft>
                <a:spcPts val="0"/>
              </a:spcAft>
              <a:buSzPts val="1800"/>
              <a:buNone/>
              <a:defRPr sz="1800"/>
            </a:lvl4pPr>
            <a:lvl5pPr lvl="4" algn="ctr">
              <a:lnSpc>
                <a:spcPct val="100000"/>
              </a:lnSpc>
              <a:spcBef>
                <a:spcPts val="0"/>
              </a:spcBef>
              <a:spcAft>
                <a:spcPts val="0"/>
              </a:spcAft>
              <a:buSzPts val="1800"/>
              <a:buNone/>
              <a:defRPr sz="1800"/>
            </a:lvl5pPr>
            <a:lvl6pPr lvl="5" algn="ctr">
              <a:lnSpc>
                <a:spcPct val="100000"/>
              </a:lnSpc>
              <a:spcBef>
                <a:spcPts val="0"/>
              </a:spcBef>
              <a:spcAft>
                <a:spcPts val="0"/>
              </a:spcAft>
              <a:buSzPts val="1800"/>
              <a:buNone/>
              <a:defRPr sz="1800"/>
            </a:lvl6pPr>
            <a:lvl7pPr lvl="6" algn="ctr">
              <a:lnSpc>
                <a:spcPct val="100000"/>
              </a:lnSpc>
              <a:spcBef>
                <a:spcPts val="0"/>
              </a:spcBef>
              <a:spcAft>
                <a:spcPts val="0"/>
              </a:spcAft>
              <a:buSzPts val="1800"/>
              <a:buNone/>
              <a:defRPr sz="1800"/>
            </a:lvl7pPr>
            <a:lvl8pPr lvl="7" algn="ctr">
              <a:lnSpc>
                <a:spcPct val="100000"/>
              </a:lnSpc>
              <a:spcBef>
                <a:spcPts val="0"/>
              </a:spcBef>
              <a:spcAft>
                <a:spcPts val="0"/>
              </a:spcAft>
              <a:buSzPts val="1800"/>
              <a:buNone/>
              <a:defRPr sz="1800"/>
            </a:lvl8pPr>
            <a:lvl9pPr lvl="8" algn="ctr">
              <a:lnSpc>
                <a:spcPct val="100000"/>
              </a:lnSpc>
              <a:spcBef>
                <a:spcPts val="0"/>
              </a:spcBef>
              <a:spcAft>
                <a:spcPts val="0"/>
              </a:spcAft>
              <a:buSzPts val="1800"/>
              <a:buNone/>
              <a:defRPr sz="1800"/>
            </a:lvl9pPr>
          </a:lstStyle>
          <a:p>
            <a:endParaRPr/>
          </a:p>
        </p:txBody>
      </p:sp>
      <p:sp>
        <p:nvSpPr>
          <p:cNvPr id="23" name="Google Shape;23;p2"/>
          <p:cNvSpPr txBox="1">
            <a:spLocks noGrp="1"/>
          </p:cNvSpPr>
          <p:nvPr>
            <p:ph type="ctrTitle" idx="2"/>
          </p:nvPr>
        </p:nvSpPr>
        <p:spPr>
          <a:xfrm>
            <a:off x="6938575" y="552675"/>
            <a:ext cx="1492200" cy="450000"/>
          </a:xfrm>
          <a:prstGeom prst="rect">
            <a:avLst/>
          </a:prstGeom>
          <a:solidFill>
            <a:schemeClr val="dk2"/>
          </a:solidFill>
        </p:spPr>
        <p:txBody>
          <a:bodyPr spcFirstLastPara="1" wrap="square" lIns="91425" tIns="91425" rIns="91425" bIns="91425" anchor="ctr" anchorCtr="0">
            <a:noAutofit/>
          </a:bodyPr>
          <a:lstStyle>
            <a:lvl1pPr lvl="0" algn="ctr" rtl="0">
              <a:spcBef>
                <a:spcPts val="0"/>
              </a:spcBef>
              <a:spcAft>
                <a:spcPts val="0"/>
              </a:spcAft>
              <a:buClr>
                <a:srgbClr val="191919"/>
              </a:buClr>
              <a:buSzPts val="1800"/>
              <a:buNone/>
              <a:defRPr sz="2400"/>
            </a:lvl1pPr>
            <a:lvl2pPr lvl="1" algn="ctr" rtl="0">
              <a:spcBef>
                <a:spcPts val="0"/>
              </a:spcBef>
              <a:spcAft>
                <a:spcPts val="0"/>
              </a:spcAft>
              <a:buClr>
                <a:srgbClr val="191919"/>
              </a:buClr>
              <a:buSzPts val="1800"/>
              <a:buNone/>
              <a:defRPr sz="1800">
                <a:solidFill>
                  <a:srgbClr val="191919"/>
                </a:solidFill>
              </a:defRPr>
            </a:lvl2pPr>
            <a:lvl3pPr lvl="2" algn="ctr" rtl="0">
              <a:spcBef>
                <a:spcPts val="0"/>
              </a:spcBef>
              <a:spcAft>
                <a:spcPts val="0"/>
              </a:spcAft>
              <a:buClr>
                <a:srgbClr val="191919"/>
              </a:buClr>
              <a:buSzPts val="1800"/>
              <a:buNone/>
              <a:defRPr sz="1800">
                <a:solidFill>
                  <a:srgbClr val="191919"/>
                </a:solidFill>
              </a:defRPr>
            </a:lvl3pPr>
            <a:lvl4pPr lvl="3" algn="ctr" rtl="0">
              <a:spcBef>
                <a:spcPts val="0"/>
              </a:spcBef>
              <a:spcAft>
                <a:spcPts val="0"/>
              </a:spcAft>
              <a:buClr>
                <a:srgbClr val="191919"/>
              </a:buClr>
              <a:buSzPts val="1800"/>
              <a:buNone/>
              <a:defRPr sz="1800">
                <a:solidFill>
                  <a:srgbClr val="191919"/>
                </a:solidFill>
              </a:defRPr>
            </a:lvl4pPr>
            <a:lvl5pPr lvl="4" algn="ctr" rtl="0">
              <a:spcBef>
                <a:spcPts val="0"/>
              </a:spcBef>
              <a:spcAft>
                <a:spcPts val="0"/>
              </a:spcAft>
              <a:buClr>
                <a:srgbClr val="191919"/>
              </a:buClr>
              <a:buSzPts val="1800"/>
              <a:buNone/>
              <a:defRPr sz="1800">
                <a:solidFill>
                  <a:srgbClr val="191919"/>
                </a:solidFill>
              </a:defRPr>
            </a:lvl5pPr>
            <a:lvl6pPr lvl="5" algn="ctr" rtl="0">
              <a:spcBef>
                <a:spcPts val="0"/>
              </a:spcBef>
              <a:spcAft>
                <a:spcPts val="0"/>
              </a:spcAft>
              <a:buClr>
                <a:srgbClr val="191919"/>
              </a:buClr>
              <a:buSzPts val="1800"/>
              <a:buNone/>
              <a:defRPr sz="1800">
                <a:solidFill>
                  <a:srgbClr val="191919"/>
                </a:solidFill>
              </a:defRPr>
            </a:lvl6pPr>
            <a:lvl7pPr lvl="6" algn="ctr" rtl="0">
              <a:spcBef>
                <a:spcPts val="0"/>
              </a:spcBef>
              <a:spcAft>
                <a:spcPts val="0"/>
              </a:spcAft>
              <a:buClr>
                <a:srgbClr val="191919"/>
              </a:buClr>
              <a:buSzPts val="1800"/>
              <a:buNone/>
              <a:defRPr sz="1800">
                <a:solidFill>
                  <a:srgbClr val="191919"/>
                </a:solidFill>
              </a:defRPr>
            </a:lvl7pPr>
            <a:lvl8pPr lvl="7" algn="ctr" rtl="0">
              <a:spcBef>
                <a:spcPts val="0"/>
              </a:spcBef>
              <a:spcAft>
                <a:spcPts val="0"/>
              </a:spcAft>
              <a:buClr>
                <a:srgbClr val="191919"/>
              </a:buClr>
              <a:buSzPts val="1800"/>
              <a:buNone/>
              <a:defRPr sz="1800">
                <a:solidFill>
                  <a:srgbClr val="191919"/>
                </a:solidFill>
              </a:defRPr>
            </a:lvl8pPr>
            <a:lvl9pPr lvl="8" algn="ctr" rtl="0">
              <a:spcBef>
                <a:spcPts val="0"/>
              </a:spcBef>
              <a:spcAft>
                <a:spcPts val="0"/>
              </a:spcAft>
              <a:buClr>
                <a:srgbClr val="191919"/>
              </a:buClr>
              <a:buSzPts val="1800"/>
              <a:buNone/>
              <a:defRPr sz="1800">
                <a:solidFill>
                  <a:srgbClr val="191919"/>
                </a:solidFil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ackground">
  <p:cSld name="BLANK_1_1_1_1_1_1_1">
    <p:spTree>
      <p:nvGrpSpPr>
        <p:cNvPr id="1" name="Shape 318"/>
        <p:cNvGrpSpPr/>
        <p:nvPr/>
      </p:nvGrpSpPr>
      <p:grpSpPr>
        <a:xfrm>
          <a:off x="0" y="0"/>
          <a:ext cx="0" cy="0"/>
          <a:chOff x="0" y="0"/>
          <a:chExt cx="0" cy="0"/>
        </a:xfrm>
      </p:grpSpPr>
      <p:sp>
        <p:nvSpPr>
          <p:cNvPr id="319" name="Google Shape;319;p26"/>
          <p:cNvSpPr/>
          <p:nvPr/>
        </p:nvSpPr>
        <p:spPr>
          <a:xfrm>
            <a:off x="-753977" y="3910975"/>
            <a:ext cx="2489827" cy="2489827"/>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320" name="Google Shape;320;p26"/>
          <p:cNvGrpSpPr/>
          <p:nvPr/>
        </p:nvGrpSpPr>
        <p:grpSpPr>
          <a:xfrm>
            <a:off x="295975" y="4188655"/>
            <a:ext cx="1694813" cy="830678"/>
            <a:chOff x="-215300" y="3851305"/>
            <a:chExt cx="1694813" cy="830678"/>
          </a:xfrm>
        </p:grpSpPr>
        <p:sp>
          <p:nvSpPr>
            <p:cNvPr id="321" name="Google Shape;321;p26"/>
            <p:cNvSpPr/>
            <p:nvPr/>
          </p:nvSpPr>
          <p:spPr>
            <a:xfrm>
              <a:off x="861887" y="3947362"/>
              <a:ext cx="215345" cy="42222"/>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322" name="Google Shape;322;p26"/>
            <p:cNvGrpSpPr/>
            <p:nvPr/>
          </p:nvGrpSpPr>
          <p:grpSpPr>
            <a:xfrm>
              <a:off x="861887" y="4031521"/>
              <a:ext cx="137882" cy="60495"/>
              <a:chOff x="1949580" y="3551527"/>
              <a:chExt cx="247410" cy="108551"/>
            </a:xfrm>
          </p:grpSpPr>
          <p:sp>
            <p:nvSpPr>
              <p:cNvPr id="323" name="Google Shape;323;p26"/>
              <p:cNvSpPr/>
              <p:nvPr/>
            </p:nvSpPr>
            <p:spPr>
              <a:xfrm>
                <a:off x="1949580" y="3551527"/>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24" name="Google Shape;324;p26"/>
              <p:cNvSpPr/>
              <p:nvPr/>
            </p:nvSpPr>
            <p:spPr>
              <a:xfrm>
                <a:off x="1949580" y="3601966"/>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25" name="Google Shape;325;p26"/>
              <p:cNvSpPr/>
              <p:nvPr/>
            </p:nvSpPr>
            <p:spPr>
              <a:xfrm>
                <a:off x="1949580" y="3652482"/>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326" name="Google Shape;326;p26"/>
            <p:cNvSpPr/>
            <p:nvPr/>
          </p:nvSpPr>
          <p:spPr>
            <a:xfrm>
              <a:off x="-85801"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27" name="Google Shape;327;p26"/>
            <p:cNvSpPr/>
            <p:nvPr/>
          </p:nvSpPr>
          <p:spPr>
            <a:xfrm>
              <a:off x="104109" y="4375950"/>
              <a:ext cx="105745" cy="305846"/>
            </a:xfrm>
            <a:custGeom>
              <a:avLst/>
              <a:gdLst/>
              <a:ahLst/>
              <a:cxnLst/>
              <a:rect l="l" t="t" r="r" b="b"/>
              <a:pathLst>
                <a:path w="189678" h="548602" extrusionOk="0">
                  <a:moveTo>
                    <a:pt x="0" y="0"/>
                  </a:moveTo>
                  <a:lnTo>
                    <a:pt x="189679" y="0"/>
                  </a:lnTo>
                  <a:lnTo>
                    <a:pt x="189679" y="548602"/>
                  </a:lnTo>
                  <a:lnTo>
                    <a:pt x="0" y="5486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28" name="Google Shape;328;p26"/>
            <p:cNvSpPr/>
            <p:nvPr/>
          </p:nvSpPr>
          <p:spPr>
            <a:xfrm>
              <a:off x="294020" y="4210340"/>
              <a:ext cx="105745" cy="471557"/>
            </a:xfrm>
            <a:custGeom>
              <a:avLst/>
              <a:gdLst/>
              <a:ahLst/>
              <a:cxnLst/>
              <a:rect l="l" t="t" r="r" b="b"/>
              <a:pathLst>
                <a:path w="189678" h="845843" extrusionOk="0">
                  <a:moveTo>
                    <a:pt x="0" y="0"/>
                  </a:moveTo>
                  <a:lnTo>
                    <a:pt x="189679" y="0"/>
                  </a:lnTo>
                  <a:lnTo>
                    <a:pt x="189679" y="845844"/>
                  </a:lnTo>
                  <a:lnTo>
                    <a:pt x="0" y="845844"/>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29" name="Google Shape;329;p26"/>
            <p:cNvSpPr/>
            <p:nvPr/>
          </p:nvSpPr>
          <p:spPr>
            <a:xfrm>
              <a:off x="483972"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0" name="Google Shape;330;p26"/>
            <p:cNvSpPr/>
            <p:nvPr/>
          </p:nvSpPr>
          <p:spPr>
            <a:xfrm>
              <a:off x="673882"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1" name="Google Shape;331;p26"/>
            <p:cNvSpPr/>
            <p:nvPr/>
          </p:nvSpPr>
          <p:spPr>
            <a:xfrm>
              <a:off x="863835" y="4347926"/>
              <a:ext cx="105745" cy="333923"/>
            </a:xfrm>
            <a:custGeom>
              <a:avLst/>
              <a:gdLst/>
              <a:ahLst/>
              <a:cxnLst/>
              <a:rect l="l" t="t" r="r" b="b"/>
              <a:pathLst>
                <a:path w="189678" h="598965" extrusionOk="0">
                  <a:moveTo>
                    <a:pt x="0" y="0"/>
                  </a:moveTo>
                  <a:lnTo>
                    <a:pt x="189679" y="0"/>
                  </a:lnTo>
                  <a:lnTo>
                    <a:pt x="189679" y="598965"/>
                  </a:lnTo>
                  <a:lnTo>
                    <a:pt x="0" y="59896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2" name="Google Shape;332;p26"/>
            <p:cNvSpPr/>
            <p:nvPr/>
          </p:nvSpPr>
          <p:spPr>
            <a:xfrm>
              <a:off x="1053745" y="4472133"/>
              <a:ext cx="105745" cy="209628"/>
            </a:xfrm>
            <a:custGeom>
              <a:avLst/>
              <a:gdLst/>
              <a:ahLst/>
              <a:cxnLst/>
              <a:rect l="l" t="t" r="r" b="b"/>
              <a:pathLst>
                <a:path w="189678" h="376014" extrusionOk="0">
                  <a:moveTo>
                    <a:pt x="0" y="0"/>
                  </a:moveTo>
                  <a:lnTo>
                    <a:pt x="189679" y="0"/>
                  </a:lnTo>
                  <a:lnTo>
                    <a:pt x="189679" y="376015"/>
                  </a:lnTo>
                  <a:lnTo>
                    <a:pt x="0" y="37601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3" name="Google Shape;333;p26"/>
            <p:cNvSpPr/>
            <p:nvPr/>
          </p:nvSpPr>
          <p:spPr>
            <a:xfrm>
              <a:off x="1243698"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4" name="Google Shape;334;p26"/>
            <p:cNvSpPr/>
            <p:nvPr/>
          </p:nvSpPr>
          <p:spPr>
            <a:xfrm>
              <a:off x="-32968" y="4087783"/>
              <a:ext cx="1329975" cy="420315"/>
            </a:xfrm>
            <a:custGeom>
              <a:avLst/>
              <a:gdLst/>
              <a:ahLst/>
              <a:cxnLst/>
              <a:rect l="l" t="t" r="r" b="b"/>
              <a:pathLst>
                <a:path w="2385606" h="753929" extrusionOk="0">
                  <a:moveTo>
                    <a:pt x="0" y="0"/>
                  </a:moveTo>
                  <a:lnTo>
                    <a:pt x="340844" y="555135"/>
                  </a:lnTo>
                  <a:lnTo>
                    <a:pt x="681613" y="262147"/>
                  </a:lnTo>
                  <a:lnTo>
                    <a:pt x="1022381" y="0"/>
                  </a:lnTo>
                  <a:lnTo>
                    <a:pt x="1363225" y="0"/>
                  </a:lnTo>
                  <a:lnTo>
                    <a:pt x="1703993" y="517077"/>
                  </a:lnTo>
                  <a:lnTo>
                    <a:pt x="2044838" y="753929"/>
                  </a:lnTo>
                  <a:lnTo>
                    <a:pt x="2385606"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5" name="Google Shape;335;p26"/>
            <p:cNvSpPr/>
            <p:nvPr/>
          </p:nvSpPr>
          <p:spPr>
            <a:xfrm>
              <a:off x="-61417" y="4059335"/>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6" name="Google Shape;336;p26"/>
            <p:cNvSpPr/>
            <p:nvPr/>
          </p:nvSpPr>
          <p:spPr>
            <a:xfrm>
              <a:off x="128536" y="4354614"/>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7" name="Google Shape;337;p26"/>
            <p:cNvSpPr/>
            <p:nvPr/>
          </p:nvSpPr>
          <p:spPr>
            <a:xfrm>
              <a:off x="318446" y="4189385"/>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8" name="Google Shape;338;p26"/>
            <p:cNvSpPr/>
            <p:nvPr/>
          </p:nvSpPr>
          <p:spPr>
            <a:xfrm>
              <a:off x="508356" y="4059335"/>
              <a:ext cx="56917" cy="56917"/>
            </a:xfrm>
            <a:custGeom>
              <a:avLst/>
              <a:gdLst/>
              <a:ahLst/>
              <a:cxnLst/>
              <a:rect l="l" t="t" r="r" b="b"/>
              <a:pathLst>
                <a:path w="102093" h="102093" extrusionOk="0">
                  <a:moveTo>
                    <a:pt x="102094" y="51047"/>
                  </a:moveTo>
                  <a:cubicBezTo>
                    <a:pt x="102094" y="79239"/>
                    <a:pt x="79239" y="102094"/>
                    <a:pt x="51047" y="102094"/>
                  </a:cubicBezTo>
                  <a:cubicBezTo>
                    <a:pt x="22855" y="102094"/>
                    <a:pt x="0" y="79239"/>
                    <a:pt x="0" y="51047"/>
                  </a:cubicBezTo>
                  <a:cubicBezTo>
                    <a:pt x="0" y="22854"/>
                    <a:pt x="22855" y="0"/>
                    <a:pt x="51047" y="0"/>
                  </a:cubicBezTo>
                  <a:cubicBezTo>
                    <a:pt x="79239" y="0"/>
                    <a:pt x="102094" y="22854"/>
                    <a:pt x="102094" y="5104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9" name="Google Shape;339;p26"/>
            <p:cNvSpPr/>
            <p:nvPr/>
          </p:nvSpPr>
          <p:spPr>
            <a:xfrm>
              <a:off x="698309" y="4059335"/>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0" name="Google Shape;340;p26"/>
            <p:cNvSpPr/>
            <p:nvPr/>
          </p:nvSpPr>
          <p:spPr>
            <a:xfrm>
              <a:off x="893172" y="4336368"/>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1" name="Google Shape;341;p26"/>
            <p:cNvSpPr/>
            <p:nvPr/>
          </p:nvSpPr>
          <p:spPr>
            <a:xfrm>
              <a:off x="1078172" y="4457909"/>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2" name="Google Shape;342;p26"/>
            <p:cNvSpPr/>
            <p:nvPr/>
          </p:nvSpPr>
          <p:spPr>
            <a:xfrm>
              <a:off x="1268082" y="4046253"/>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3" name="Google Shape;343;p26"/>
            <p:cNvSpPr/>
            <p:nvPr/>
          </p:nvSpPr>
          <p:spPr>
            <a:xfrm>
              <a:off x="-215300" y="3851305"/>
              <a:ext cx="1694813" cy="830678"/>
            </a:xfrm>
            <a:custGeom>
              <a:avLst/>
              <a:gdLst/>
              <a:ahLst/>
              <a:cxnLst/>
              <a:rect l="l" t="t" r="r" b="b"/>
              <a:pathLst>
                <a:path w="3040023" h="1490006" extrusionOk="0">
                  <a:moveTo>
                    <a:pt x="2916053" y="1490007"/>
                  </a:moveTo>
                  <a:lnTo>
                    <a:pt x="123971" y="1490007"/>
                  </a:lnTo>
                  <a:cubicBezTo>
                    <a:pt x="55529" y="1490007"/>
                    <a:pt x="0" y="1434478"/>
                    <a:pt x="0" y="1366036"/>
                  </a:cubicBezTo>
                  <a:lnTo>
                    <a:pt x="0" y="123971"/>
                  </a:lnTo>
                  <a:cubicBezTo>
                    <a:pt x="0" y="55529"/>
                    <a:pt x="55529" y="0"/>
                    <a:pt x="123971" y="0"/>
                  </a:cubicBezTo>
                  <a:lnTo>
                    <a:pt x="2916053" y="0"/>
                  </a:lnTo>
                  <a:cubicBezTo>
                    <a:pt x="2984495" y="0"/>
                    <a:pt x="3040024" y="55529"/>
                    <a:pt x="3040024" y="123971"/>
                  </a:cubicBezTo>
                  <a:lnTo>
                    <a:pt x="3040024" y="1366036"/>
                  </a:lnTo>
                  <a:cubicBezTo>
                    <a:pt x="3040024" y="1434554"/>
                    <a:pt x="2984495" y="1490007"/>
                    <a:pt x="2916053" y="1490007"/>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344" name="Google Shape;344;p26"/>
          <p:cNvSpPr/>
          <p:nvPr/>
        </p:nvSpPr>
        <p:spPr>
          <a:xfrm rot="-2700000">
            <a:off x="7679247" y="18329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5" name="Google Shape;345;p26"/>
          <p:cNvSpPr/>
          <p:nvPr/>
        </p:nvSpPr>
        <p:spPr>
          <a:xfrm rot="-2700000">
            <a:off x="422294" y="567925"/>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BD0E"/>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6" name="Google Shape;346;p26"/>
          <p:cNvSpPr/>
          <p:nvPr/>
        </p:nvSpPr>
        <p:spPr>
          <a:xfrm rot="-2700000">
            <a:off x="8760102" y="359387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7" name="Google Shape;347;p26"/>
          <p:cNvSpPr/>
          <p:nvPr/>
        </p:nvSpPr>
        <p:spPr>
          <a:xfrm rot="-2700000">
            <a:off x="228123" y="304080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8" name="Google Shape;348;p26"/>
          <p:cNvSpPr/>
          <p:nvPr/>
        </p:nvSpPr>
        <p:spPr>
          <a:xfrm rot="-2700000">
            <a:off x="4242256" y="474611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49" name="Google Shape;349;p26"/>
          <p:cNvSpPr/>
          <p:nvPr/>
        </p:nvSpPr>
        <p:spPr>
          <a:xfrm>
            <a:off x="3199535" y="19210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350" name="Google Shape;350;p26"/>
          <p:cNvGrpSpPr/>
          <p:nvPr/>
        </p:nvGrpSpPr>
        <p:grpSpPr>
          <a:xfrm>
            <a:off x="8430783" y="1741366"/>
            <a:ext cx="901968" cy="901968"/>
            <a:chOff x="1350404" y="-3124999"/>
            <a:chExt cx="1570279" cy="1570279"/>
          </a:xfrm>
        </p:grpSpPr>
        <p:sp>
          <p:nvSpPr>
            <p:cNvPr id="351" name="Google Shape;351;p26"/>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52" name="Google Shape;352;p26"/>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53" name="Google Shape;353;p26"/>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54" name="Google Shape;354;p26"/>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355" name="Google Shape;355;p26"/>
          <p:cNvSpPr/>
          <p:nvPr/>
        </p:nvSpPr>
        <p:spPr>
          <a:xfrm>
            <a:off x="4407973" y="-1942300"/>
            <a:ext cx="2489827" cy="2489827"/>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56" name="Google Shape;356;p26"/>
          <p:cNvSpPr/>
          <p:nvPr/>
        </p:nvSpPr>
        <p:spPr>
          <a:xfrm>
            <a:off x="8146410" y="475490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ackground 1">
  <p:cSld name="BLANK_1_1_1_1_1_1_1_1">
    <p:spTree>
      <p:nvGrpSpPr>
        <p:cNvPr id="1" name="Shape 357"/>
        <p:cNvGrpSpPr/>
        <p:nvPr/>
      </p:nvGrpSpPr>
      <p:grpSpPr>
        <a:xfrm>
          <a:off x="0" y="0"/>
          <a:ext cx="0" cy="0"/>
          <a:chOff x="0" y="0"/>
          <a:chExt cx="0" cy="0"/>
        </a:xfrm>
      </p:grpSpPr>
      <p:sp>
        <p:nvSpPr>
          <p:cNvPr id="358" name="Google Shape;358;p27"/>
          <p:cNvSpPr/>
          <p:nvPr/>
        </p:nvSpPr>
        <p:spPr>
          <a:xfrm>
            <a:off x="7128375" y="0"/>
            <a:ext cx="2517166" cy="1088852"/>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359" name="Google Shape;359;p27"/>
          <p:cNvGrpSpPr/>
          <p:nvPr/>
        </p:nvGrpSpPr>
        <p:grpSpPr>
          <a:xfrm>
            <a:off x="7650716" y="539506"/>
            <a:ext cx="1022136" cy="829949"/>
            <a:chOff x="7329141" y="362469"/>
            <a:chExt cx="1022136" cy="829949"/>
          </a:xfrm>
        </p:grpSpPr>
        <p:sp>
          <p:nvSpPr>
            <p:cNvPr id="360" name="Google Shape;360;p27"/>
            <p:cNvSpPr/>
            <p:nvPr/>
          </p:nvSpPr>
          <p:spPr>
            <a:xfrm>
              <a:off x="7329141" y="362469"/>
              <a:ext cx="1022136" cy="829949"/>
            </a:xfrm>
            <a:custGeom>
              <a:avLst/>
              <a:gdLst/>
              <a:ahLst/>
              <a:cxnLst/>
              <a:rect l="l" t="t" r="r" b="b"/>
              <a:pathLst>
                <a:path w="1901648" h="1544092" extrusionOk="0">
                  <a:moveTo>
                    <a:pt x="1770840" y="1544092"/>
                  </a:moveTo>
                  <a:lnTo>
                    <a:pt x="130807" y="1544092"/>
                  </a:lnTo>
                  <a:cubicBezTo>
                    <a:pt x="58567" y="1544092"/>
                    <a:pt x="0" y="1485525"/>
                    <a:pt x="0" y="1413285"/>
                  </a:cubicBezTo>
                  <a:lnTo>
                    <a:pt x="0" y="130808"/>
                  </a:lnTo>
                  <a:cubicBezTo>
                    <a:pt x="0" y="58567"/>
                    <a:pt x="58567" y="0"/>
                    <a:pt x="130807" y="0"/>
                  </a:cubicBezTo>
                  <a:lnTo>
                    <a:pt x="1770840" y="0"/>
                  </a:lnTo>
                  <a:cubicBezTo>
                    <a:pt x="1843081" y="0"/>
                    <a:pt x="1901648" y="58567"/>
                    <a:pt x="1901648" y="130808"/>
                  </a:cubicBezTo>
                  <a:lnTo>
                    <a:pt x="1901648" y="1413285"/>
                  </a:lnTo>
                  <a:cubicBezTo>
                    <a:pt x="1901648" y="1485449"/>
                    <a:pt x="1843081" y="1544092"/>
                    <a:pt x="1770840" y="154409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1" name="Google Shape;361;p27"/>
            <p:cNvSpPr/>
            <p:nvPr/>
          </p:nvSpPr>
          <p:spPr>
            <a:xfrm>
              <a:off x="7479397" y="507863"/>
              <a:ext cx="275724" cy="489918"/>
            </a:xfrm>
            <a:custGeom>
              <a:avLst/>
              <a:gdLst/>
              <a:ahLst/>
              <a:cxnLst/>
              <a:rect l="l" t="t" r="r" b="b"/>
              <a:pathLst>
                <a:path w="512975" h="911475" extrusionOk="0">
                  <a:moveTo>
                    <a:pt x="512976" y="0"/>
                  </a:moveTo>
                  <a:cubicBezTo>
                    <a:pt x="229635" y="0"/>
                    <a:pt x="0" y="229635"/>
                    <a:pt x="0" y="512976"/>
                  </a:cubicBezTo>
                  <a:cubicBezTo>
                    <a:pt x="0" y="673864"/>
                    <a:pt x="74064" y="817434"/>
                    <a:pt x="189983" y="911476"/>
                  </a:cubicBezTo>
                  <a:lnTo>
                    <a:pt x="512976" y="512976"/>
                  </a:lnTo>
                  <a:lnTo>
                    <a:pt x="512976" y="0"/>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362" name="Google Shape;362;p27"/>
            <p:cNvGrpSpPr/>
            <p:nvPr/>
          </p:nvGrpSpPr>
          <p:grpSpPr>
            <a:xfrm>
              <a:off x="7581570" y="507863"/>
              <a:ext cx="449624" cy="551756"/>
              <a:chOff x="6727477" y="1096947"/>
              <a:chExt cx="836044" cy="1025951"/>
            </a:xfrm>
          </p:grpSpPr>
          <p:sp>
            <p:nvSpPr>
              <p:cNvPr id="363" name="Google Shape;363;p27"/>
              <p:cNvSpPr/>
              <p:nvPr/>
            </p:nvSpPr>
            <p:spPr>
              <a:xfrm>
                <a:off x="7050546" y="1096947"/>
                <a:ext cx="512975" cy="1014176"/>
              </a:xfrm>
              <a:custGeom>
                <a:avLst/>
                <a:gdLst/>
                <a:ahLst/>
                <a:cxnLst/>
                <a:rect l="l" t="t" r="r" b="b"/>
                <a:pathLst>
                  <a:path w="512975" h="1014176" extrusionOk="0">
                    <a:moveTo>
                      <a:pt x="512976" y="512976"/>
                    </a:moveTo>
                    <a:cubicBezTo>
                      <a:pt x="512976" y="229635"/>
                      <a:pt x="283341" y="0"/>
                      <a:pt x="0" y="0"/>
                    </a:cubicBezTo>
                    <a:lnTo>
                      <a:pt x="0" y="512976"/>
                    </a:lnTo>
                    <a:lnTo>
                      <a:pt x="109538" y="1014177"/>
                    </a:lnTo>
                    <a:cubicBezTo>
                      <a:pt x="340161" y="963966"/>
                      <a:pt x="512976" y="758639"/>
                      <a:pt x="512976" y="512976"/>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4" name="Google Shape;364;p27"/>
              <p:cNvSpPr/>
              <p:nvPr/>
            </p:nvSpPr>
            <p:spPr>
              <a:xfrm>
                <a:off x="6727477" y="1609923"/>
                <a:ext cx="432531" cy="512975"/>
              </a:xfrm>
              <a:custGeom>
                <a:avLst/>
                <a:gdLst/>
                <a:ahLst/>
                <a:cxnLst/>
                <a:rect l="l" t="t" r="r" b="b"/>
                <a:pathLst>
                  <a:path w="432531" h="512975" extrusionOk="0">
                    <a:moveTo>
                      <a:pt x="0" y="398500"/>
                    </a:moveTo>
                    <a:cubicBezTo>
                      <a:pt x="88192" y="470057"/>
                      <a:pt x="200617" y="512976"/>
                      <a:pt x="322993" y="512976"/>
                    </a:cubicBezTo>
                    <a:cubicBezTo>
                      <a:pt x="360594" y="512976"/>
                      <a:pt x="397208" y="508874"/>
                      <a:pt x="432531" y="501201"/>
                    </a:cubicBezTo>
                    <a:lnTo>
                      <a:pt x="322993" y="0"/>
                    </a:lnTo>
                    <a:lnTo>
                      <a:pt x="0" y="3985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365" name="Google Shape;365;p27"/>
            <p:cNvSpPr/>
            <p:nvPr/>
          </p:nvSpPr>
          <p:spPr>
            <a:xfrm>
              <a:off x="7755275" y="507863"/>
              <a:ext cx="222278" cy="438881"/>
            </a:xfrm>
            <a:custGeom>
              <a:avLst/>
              <a:gdLst/>
              <a:ahLst/>
              <a:cxnLst/>
              <a:rect l="l" t="t" r="r" b="b"/>
              <a:pathLst>
                <a:path w="413540" h="816522" extrusionOk="0">
                  <a:moveTo>
                    <a:pt x="0" y="0"/>
                  </a:moveTo>
                  <a:lnTo>
                    <a:pt x="0" y="512976"/>
                  </a:lnTo>
                  <a:lnTo>
                    <a:pt x="413541" y="81652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6" name="Google Shape;366;p27"/>
            <p:cNvSpPr/>
            <p:nvPr/>
          </p:nvSpPr>
          <p:spPr>
            <a:xfrm>
              <a:off x="7918481" y="577354"/>
              <a:ext cx="207620" cy="40707"/>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7" name="Google Shape;367;p27"/>
            <p:cNvSpPr/>
            <p:nvPr/>
          </p:nvSpPr>
          <p:spPr>
            <a:xfrm>
              <a:off x="7986379" y="855683"/>
              <a:ext cx="207620" cy="40707"/>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8" name="Google Shape;368;p27"/>
            <p:cNvSpPr/>
            <p:nvPr/>
          </p:nvSpPr>
          <p:spPr>
            <a:xfrm>
              <a:off x="8078706" y="664248"/>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9" name="Google Shape;369;p27"/>
            <p:cNvSpPr/>
            <p:nvPr/>
          </p:nvSpPr>
          <p:spPr>
            <a:xfrm>
              <a:off x="8078706" y="691415"/>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0" name="Google Shape;370;p27"/>
            <p:cNvSpPr/>
            <p:nvPr/>
          </p:nvSpPr>
          <p:spPr>
            <a:xfrm>
              <a:off x="8078706" y="718541"/>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1" name="Google Shape;371;p27"/>
            <p:cNvSpPr/>
            <p:nvPr/>
          </p:nvSpPr>
          <p:spPr>
            <a:xfrm>
              <a:off x="8078706" y="946989"/>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2" name="Google Shape;372;p27"/>
            <p:cNvSpPr/>
            <p:nvPr/>
          </p:nvSpPr>
          <p:spPr>
            <a:xfrm>
              <a:off x="8078706" y="974156"/>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3" name="Google Shape;373;p27"/>
            <p:cNvSpPr/>
            <p:nvPr/>
          </p:nvSpPr>
          <p:spPr>
            <a:xfrm>
              <a:off x="8078706" y="1001323"/>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374" name="Google Shape;374;p27"/>
          <p:cNvSpPr/>
          <p:nvPr/>
        </p:nvSpPr>
        <p:spPr>
          <a:xfrm>
            <a:off x="6005759" y="4604009"/>
            <a:ext cx="2087690" cy="2087690"/>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5" name="Google Shape;375;p27"/>
          <p:cNvSpPr/>
          <p:nvPr/>
        </p:nvSpPr>
        <p:spPr>
          <a:xfrm rot="-2700000">
            <a:off x="547497" y="24057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6" name="Google Shape;376;p27"/>
          <p:cNvSpPr/>
          <p:nvPr/>
        </p:nvSpPr>
        <p:spPr>
          <a:xfrm rot="-2700000">
            <a:off x="3740631" y="4706475"/>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BD0E"/>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7" name="Google Shape;377;p27"/>
          <p:cNvSpPr/>
          <p:nvPr/>
        </p:nvSpPr>
        <p:spPr>
          <a:xfrm rot="-2700000">
            <a:off x="4869215" y="24057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8" name="Google Shape;378;p27"/>
          <p:cNvSpPr/>
          <p:nvPr/>
        </p:nvSpPr>
        <p:spPr>
          <a:xfrm rot="-2700000">
            <a:off x="249023" y="419300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9" name="Google Shape;379;p27"/>
          <p:cNvSpPr/>
          <p:nvPr/>
        </p:nvSpPr>
        <p:spPr>
          <a:xfrm rot="-2700000">
            <a:off x="8701281" y="2057586"/>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80" name="Google Shape;380;p27"/>
          <p:cNvSpPr/>
          <p:nvPr/>
        </p:nvSpPr>
        <p:spPr>
          <a:xfrm>
            <a:off x="8370935" y="4715280"/>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81" name="Google Shape;381;p27"/>
          <p:cNvSpPr/>
          <p:nvPr/>
        </p:nvSpPr>
        <p:spPr>
          <a:xfrm>
            <a:off x="-141118" y="4603993"/>
            <a:ext cx="2306972" cy="2306972"/>
          </a:xfrm>
          <a:custGeom>
            <a:avLst/>
            <a:gdLst/>
            <a:ahLst/>
            <a:cxnLst/>
            <a:rect l="l" t="t" r="r" b="b"/>
            <a:pathLst>
              <a:path w="2306972" h="2306972" extrusionOk="0">
                <a:moveTo>
                  <a:pt x="2306973" y="1153486"/>
                </a:moveTo>
                <a:cubicBezTo>
                  <a:pt x="2306973" y="1790539"/>
                  <a:pt x="1790539" y="2306973"/>
                  <a:pt x="1153486" y="2306973"/>
                </a:cubicBezTo>
                <a:cubicBezTo>
                  <a:pt x="516433" y="2306973"/>
                  <a:pt x="0" y="1790539"/>
                  <a:pt x="0" y="1153486"/>
                </a:cubicBezTo>
                <a:cubicBezTo>
                  <a:pt x="0" y="516434"/>
                  <a:pt x="516433" y="0"/>
                  <a:pt x="1153486" y="0"/>
                </a:cubicBezTo>
                <a:cubicBezTo>
                  <a:pt x="1790539" y="0"/>
                  <a:pt x="2306973" y="516433"/>
                  <a:pt x="2306973" y="1153486"/>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82" name="Google Shape;382;p27"/>
          <p:cNvSpPr/>
          <p:nvPr/>
        </p:nvSpPr>
        <p:spPr>
          <a:xfrm>
            <a:off x="-1383791" y="1516059"/>
            <a:ext cx="2087690" cy="2087690"/>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83" name="Google Shape;383;p27"/>
          <p:cNvSpPr/>
          <p:nvPr/>
        </p:nvSpPr>
        <p:spPr>
          <a:xfrm>
            <a:off x="1442285" y="183230"/>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06"/>
        <p:cNvGrpSpPr/>
        <p:nvPr/>
      </p:nvGrpSpPr>
      <p:grpSpPr>
        <a:xfrm>
          <a:off x="0" y="0"/>
          <a:ext cx="0" cy="0"/>
          <a:chOff x="0" y="0"/>
          <a:chExt cx="0" cy="0"/>
        </a:xfrm>
      </p:grpSpPr>
      <p:sp>
        <p:nvSpPr>
          <p:cNvPr id="107" name="Google Shape;107;p9"/>
          <p:cNvSpPr txBox="1">
            <a:spLocks noGrp="1"/>
          </p:cNvSpPr>
          <p:nvPr>
            <p:ph type="subTitle" idx="1"/>
          </p:nvPr>
        </p:nvSpPr>
        <p:spPr>
          <a:xfrm>
            <a:off x="720075" y="1229900"/>
            <a:ext cx="4149300" cy="2677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08" name="Google Shape;108;p9"/>
          <p:cNvSpPr txBox="1">
            <a:spLocks noGrp="1"/>
          </p:cNvSpPr>
          <p:nvPr>
            <p:ph type="title"/>
          </p:nvPr>
        </p:nvSpPr>
        <p:spPr>
          <a:xfrm>
            <a:off x="720000" y="445025"/>
            <a:ext cx="7704000" cy="572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09" name="Google Shape;109;p9"/>
          <p:cNvSpPr txBox="1">
            <a:spLocks noGrp="1"/>
          </p:cNvSpPr>
          <p:nvPr>
            <p:ph type="subTitle" idx="2"/>
          </p:nvPr>
        </p:nvSpPr>
        <p:spPr>
          <a:xfrm>
            <a:off x="5258200" y="1229900"/>
            <a:ext cx="3165900" cy="33741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lnSpc>
                <a:spcPct val="100000"/>
              </a:lnSpc>
              <a:spcBef>
                <a:spcPts val="0"/>
              </a:spcBef>
              <a:spcAft>
                <a:spcPts val="0"/>
              </a:spcAft>
              <a:buSzPts val="1400"/>
              <a:buNone/>
              <a:defRPr/>
            </a:lvl2pPr>
            <a:lvl3pPr lvl="2" rtl="0">
              <a:lnSpc>
                <a:spcPct val="100000"/>
              </a:lnSpc>
              <a:spcBef>
                <a:spcPts val="0"/>
              </a:spcBef>
              <a:spcAft>
                <a:spcPts val="0"/>
              </a:spcAft>
              <a:buSzPts val="1400"/>
              <a:buNone/>
              <a:defRPr/>
            </a:lvl3pPr>
            <a:lvl4pPr lvl="3" rtl="0">
              <a:lnSpc>
                <a:spcPct val="100000"/>
              </a:lnSpc>
              <a:spcBef>
                <a:spcPts val="0"/>
              </a:spcBef>
              <a:spcAft>
                <a:spcPts val="0"/>
              </a:spcAft>
              <a:buSzPts val="1400"/>
              <a:buNone/>
              <a:defRPr/>
            </a:lvl4pPr>
            <a:lvl5pPr lvl="4" rtl="0">
              <a:lnSpc>
                <a:spcPct val="100000"/>
              </a:lnSpc>
              <a:spcBef>
                <a:spcPts val="0"/>
              </a:spcBef>
              <a:spcAft>
                <a:spcPts val="0"/>
              </a:spcAft>
              <a:buSzPts val="1400"/>
              <a:buNone/>
              <a:defRPr/>
            </a:lvl5pPr>
            <a:lvl6pPr lvl="5" rtl="0">
              <a:lnSpc>
                <a:spcPct val="100000"/>
              </a:lnSpc>
              <a:spcBef>
                <a:spcPts val="0"/>
              </a:spcBef>
              <a:spcAft>
                <a:spcPts val="0"/>
              </a:spcAft>
              <a:buSzPts val="1400"/>
              <a:buNone/>
              <a:defRPr/>
            </a:lvl6pPr>
            <a:lvl7pPr lvl="6" rtl="0">
              <a:lnSpc>
                <a:spcPct val="100000"/>
              </a:lnSpc>
              <a:spcBef>
                <a:spcPts val="0"/>
              </a:spcBef>
              <a:spcAft>
                <a:spcPts val="0"/>
              </a:spcAft>
              <a:buSzPts val="1400"/>
              <a:buNone/>
              <a:defRPr/>
            </a:lvl7pPr>
            <a:lvl8pPr lvl="7" rtl="0">
              <a:lnSpc>
                <a:spcPct val="100000"/>
              </a:lnSpc>
              <a:spcBef>
                <a:spcPts val="0"/>
              </a:spcBef>
              <a:spcAft>
                <a:spcPts val="0"/>
              </a:spcAft>
              <a:buSzPts val="1400"/>
              <a:buNone/>
              <a:defRPr/>
            </a:lvl8pPr>
            <a:lvl9pPr lvl="8" rtl="0">
              <a:lnSpc>
                <a:spcPct val="100000"/>
              </a:lnSpc>
              <a:spcBef>
                <a:spcPts val="0"/>
              </a:spcBef>
              <a:spcAft>
                <a:spcPts val="0"/>
              </a:spcAft>
              <a:buSzPts val="1400"/>
              <a:buNone/>
              <a:defRPr/>
            </a:lvl9pPr>
          </a:lstStyle>
          <a:p>
            <a:endParaRPr/>
          </a:p>
        </p:txBody>
      </p:sp>
      <p:sp>
        <p:nvSpPr>
          <p:cNvPr id="110" name="Google Shape;110;p9"/>
          <p:cNvSpPr/>
          <p:nvPr/>
        </p:nvSpPr>
        <p:spPr>
          <a:xfrm>
            <a:off x="-1066000" y="4148624"/>
            <a:ext cx="2318705" cy="2318705"/>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1" name="Google Shape;111;p9"/>
          <p:cNvSpPr/>
          <p:nvPr/>
        </p:nvSpPr>
        <p:spPr>
          <a:xfrm rot="-2700000">
            <a:off x="8725469" y="4535350"/>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BD0E"/>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2" name="Google Shape;112;p9"/>
          <p:cNvSpPr/>
          <p:nvPr/>
        </p:nvSpPr>
        <p:spPr>
          <a:xfrm rot="5400000">
            <a:off x="7832400" y="516812"/>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3" name="Google Shape;113;p9"/>
          <p:cNvSpPr/>
          <p:nvPr/>
        </p:nvSpPr>
        <p:spPr>
          <a:xfrm rot="-2700000">
            <a:off x="248002" y="2229704"/>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4" name="Google Shape;114;p9"/>
          <p:cNvSpPr/>
          <p:nvPr/>
        </p:nvSpPr>
        <p:spPr>
          <a:xfrm>
            <a:off x="3253647" y="480100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5" name="Google Shape;115;p9"/>
          <p:cNvSpPr/>
          <p:nvPr/>
        </p:nvSpPr>
        <p:spPr>
          <a:xfrm>
            <a:off x="-1253581" y="-1661857"/>
            <a:ext cx="2306972" cy="2306972"/>
          </a:xfrm>
          <a:custGeom>
            <a:avLst/>
            <a:gdLst/>
            <a:ahLst/>
            <a:cxnLst/>
            <a:rect l="l" t="t" r="r" b="b"/>
            <a:pathLst>
              <a:path w="2306972" h="2306972" extrusionOk="0">
                <a:moveTo>
                  <a:pt x="2306973" y="1153486"/>
                </a:moveTo>
                <a:cubicBezTo>
                  <a:pt x="2306973" y="1790539"/>
                  <a:pt x="1790539" y="2306973"/>
                  <a:pt x="1153486" y="2306973"/>
                </a:cubicBezTo>
                <a:cubicBezTo>
                  <a:pt x="516433" y="2306973"/>
                  <a:pt x="0" y="1790539"/>
                  <a:pt x="0" y="1153486"/>
                </a:cubicBezTo>
                <a:cubicBezTo>
                  <a:pt x="0" y="516434"/>
                  <a:pt x="516433" y="0"/>
                  <a:pt x="1153486" y="0"/>
                </a:cubicBezTo>
                <a:cubicBezTo>
                  <a:pt x="1790539" y="0"/>
                  <a:pt x="2306973" y="516433"/>
                  <a:pt x="2306973" y="1153486"/>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16" name="Google Shape;116;p9"/>
          <p:cNvSpPr/>
          <p:nvPr/>
        </p:nvSpPr>
        <p:spPr>
          <a:xfrm rot="-2700000">
            <a:off x="2499794" y="13181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09174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4"/>
        <p:cNvGrpSpPr/>
        <p:nvPr/>
      </p:nvGrpSpPr>
      <p:grpSpPr>
        <a:xfrm>
          <a:off x="0" y="0"/>
          <a:ext cx="0" cy="0"/>
          <a:chOff x="0" y="0"/>
          <a:chExt cx="0" cy="0"/>
        </a:xfrm>
      </p:grpSpPr>
      <p:sp>
        <p:nvSpPr>
          <p:cNvPr id="25" name="Google Shape;25;p3"/>
          <p:cNvSpPr/>
          <p:nvPr/>
        </p:nvSpPr>
        <p:spPr>
          <a:xfrm>
            <a:off x="-1626298" y="2598094"/>
            <a:ext cx="3114423" cy="3114423"/>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6" name="Google Shape;26;p3"/>
          <p:cNvSpPr/>
          <p:nvPr/>
        </p:nvSpPr>
        <p:spPr>
          <a:xfrm>
            <a:off x="7191750" y="-13688"/>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 name="Google Shape;27;p3"/>
          <p:cNvSpPr/>
          <p:nvPr/>
        </p:nvSpPr>
        <p:spPr>
          <a:xfrm>
            <a:off x="359972" y="74345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8" name="Google Shape;28;p3"/>
          <p:cNvSpPr/>
          <p:nvPr/>
        </p:nvSpPr>
        <p:spPr>
          <a:xfrm rot="-2700000">
            <a:off x="4446660" y="20412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9" name="Google Shape;29;p3"/>
          <p:cNvSpPr/>
          <p:nvPr/>
        </p:nvSpPr>
        <p:spPr>
          <a:xfrm rot="-2700000">
            <a:off x="8603477" y="2503104"/>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0" name="Google Shape;30;p3"/>
          <p:cNvSpPr/>
          <p:nvPr/>
        </p:nvSpPr>
        <p:spPr>
          <a:xfrm rot="-2700000">
            <a:off x="2404760" y="476165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1" name="Google Shape;31;p3"/>
          <p:cNvSpPr/>
          <p:nvPr/>
        </p:nvSpPr>
        <p:spPr>
          <a:xfrm rot="-2700000">
            <a:off x="6853619" y="4632436"/>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2" name="Google Shape;32;p3"/>
          <p:cNvSpPr/>
          <p:nvPr/>
        </p:nvSpPr>
        <p:spPr>
          <a:xfrm>
            <a:off x="8848072" y="4396730"/>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3" name="Google Shape;33;p3"/>
          <p:cNvSpPr txBox="1">
            <a:spLocks noGrp="1"/>
          </p:cNvSpPr>
          <p:nvPr>
            <p:ph type="title"/>
          </p:nvPr>
        </p:nvSpPr>
        <p:spPr>
          <a:xfrm>
            <a:off x="3151900" y="1636350"/>
            <a:ext cx="4150500" cy="1302300"/>
          </a:xfrm>
          <a:prstGeom prst="rect">
            <a:avLst/>
          </a:prstGeom>
          <a:ln>
            <a:noFill/>
          </a:ln>
        </p:spPr>
        <p:txBody>
          <a:bodyPr spcFirstLastPara="1" wrap="square" lIns="91425" tIns="91425" rIns="91425" bIns="91425" anchor="b" anchorCtr="0">
            <a:noAutofit/>
          </a:bodyPr>
          <a:lstStyle>
            <a:lvl1pPr lvl="0">
              <a:spcBef>
                <a:spcPts val="0"/>
              </a:spcBef>
              <a:spcAft>
                <a:spcPts val="0"/>
              </a:spcAft>
              <a:buSzPts val="3600"/>
              <a:buNone/>
              <a:defRPr sz="40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34" name="Google Shape;34;p3"/>
          <p:cNvSpPr txBox="1">
            <a:spLocks noGrp="1"/>
          </p:cNvSpPr>
          <p:nvPr>
            <p:ph type="title" idx="2" hasCustomPrompt="1"/>
          </p:nvPr>
        </p:nvSpPr>
        <p:spPr>
          <a:xfrm>
            <a:off x="1475300" y="1690000"/>
            <a:ext cx="1294500" cy="908100"/>
          </a:xfrm>
          <a:prstGeom prst="rect">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algn="ctr" rtl="0">
              <a:spcBef>
                <a:spcPts val="0"/>
              </a:spcBef>
              <a:spcAft>
                <a:spcPts val="0"/>
              </a:spcAft>
              <a:buSzPts val="6000"/>
              <a:buNone/>
              <a:defRPr sz="48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35" name="Google Shape;35;p3"/>
          <p:cNvSpPr txBox="1">
            <a:spLocks noGrp="1"/>
          </p:cNvSpPr>
          <p:nvPr>
            <p:ph type="subTitle" idx="1"/>
          </p:nvPr>
        </p:nvSpPr>
        <p:spPr>
          <a:xfrm>
            <a:off x="3151900" y="3080475"/>
            <a:ext cx="3124800" cy="693000"/>
          </a:xfrm>
          <a:prstGeom prst="rect">
            <a:avLst/>
          </a:prstGeom>
          <a:solidFill>
            <a:schemeClr val="dk2"/>
          </a:solidFill>
        </p:spPr>
        <p:txBody>
          <a:bodyPr spcFirstLastPara="1" wrap="square" lIns="91425" tIns="91425" rIns="91425" bIns="91425" anchor="t" anchorCtr="0">
            <a:noAutofit/>
          </a:bodyPr>
          <a:lstStyle>
            <a:lvl1pPr lvl="0" rtl="0">
              <a:spcBef>
                <a:spcPts val="0"/>
              </a:spcBef>
              <a:spcAft>
                <a:spcPts val="0"/>
              </a:spcAft>
              <a:buSzPts val="1400"/>
              <a:buNone/>
              <a:defRPr sz="16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36"/>
        <p:cNvGrpSpPr/>
        <p:nvPr/>
      </p:nvGrpSpPr>
      <p:grpSpPr>
        <a:xfrm>
          <a:off x="0" y="0"/>
          <a:ext cx="0" cy="0"/>
          <a:chOff x="0" y="0"/>
          <a:chExt cx="0" cy="0"/>
        </a:xfrm>
      </p:grpSpPr>
      <p:sp>
        <p:nvSpPr>
          <p:cNvPr id="37" name="Google Shape;37;p4"/>
          <p:cNvSpPr txBox="1">
            <a:spLocks noGrp="1"/>
          </p:cNvSpPr>
          <p:nvPr>
            <p:ph type="title"/>
          </p:nvPr>
        </p:nvSpPr>
        <p:spPr>
          <a:xfrm>
            <a:off x="720000" y="445025"/>
            <a:ext cx="7704000" cy="572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38" name="Google Shape;38;p4"/>
          <p:cNvSpPr txBox="1">
            <a:spLocks noGrp="1"/>
          </p:cNvSpPr>
          <p:nvPr>
            <p:ph type="body" idx="1"/>
          </p:nvPr>
        </p:nvSpPr>
        <p:spPr>
          <a:xfrm>
            <a:off x="720000" y="1090525"/>
            <a:ext cx="7704000" cy="4227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accent1"/>
              </a:buClr>
              <a:buSzPts val="1800"/>
              <a:buFont typeface="Darker Grotesque SemiBold"/>
              <a:buChar char="●"/>
              <a:defRPr/>
            </a:lvl1pPr>
            <a:lvl2pPr marL="914400" lvl="1" indent="-317500" rtl="0">
              <a:lnSpc>
                <a:spcPct val="115000"/>
              </a:lnSpc>
              <a:spcBef>
                <a:spcPts val="0"/>
              </a:spcBef>
              <a:spcAft>
                <a:spcPts val="0"/>
              </a:spcAft>
              <a:buClr>
                <a:srgbClr val="15325B"/>
              </a:buClr>
              <a:buSzPts val="1400"/>
              <a:buFont typeface="Darker Grotesque SemiBold"/>
              <a:buChar char="○"/>
              <a:defRPr>
                <a:solidFill>
                  <a:srgbClr val="434343"/>
                </a:solidFill>
              </a:defRPr>
            </a:lvl2pPr>
            <a:lvl3pPr marL="1371600" lvl="2" indent="-317500" rtl="0">
              <a:lnSpc>
                <a:spcPct val="115000"/>
              </a:lnSpc>
              <a:spcBef>
                <a:spcPts val="0"/>
              </a:spcBef>
              <a:spcAft>
                <a:spcPts val="0"/>
              </a:spcAft>
              <a:buClr>
                <a:srgbClr val="15325B"/>
              </a:buClr>
              <a:buSzPts val="1400"/>
              <a:buFont typeface="Darker Grotesque SemiBold"/>
              <a:buChar char="■"/>
              <a:defRPr>
                <a:solidFill>
                  <a:srgbClr val="434343"/>
                </a:solidFill>
              </a:defRPr>
            </a:lvl3pPr>
            <a:lvl4pPr marL="1828800" lvl="3" indent="-317500" rtl="0">
              <a:lnSpc>
                <a:spcPct val="115000"/>
              </a:lnSpc>
              <a:spcBef>
                <a:spcPts val="0"/>
              </a:spcBef>
              <a:spcAft>
                <a:spcPts val="0"/>
              </a:spcAft>
              <a:buClr>
                <a:srgbClr val="15325B"/>
              </a:buClr>
              <a:buSzPts val="1400"/>
              <a:buFont typeface="Darker Grotesque SemiBold"/>
              <a:buChar char="●"/>
              <a:defRPr>
                <a:solidFill>
                  <a:srgbClr val="434343"/>
                </a:solidFill>
              </a:defRPr>
            </a:lvl4pPr>
            <a:lvl5pPr marL="2286000" lvl="4" indent="-317500" rtl="0">
              <a:lnSpc>
                <a:spcPct val="115000"/>
              </a:lnSpc>
              <a:spcBef>
                <a:spcPts val="0"/>
              </a:spcBef>
              <a:spcAft>
                <a:spcPts val="0"/>
              </a:spcAft>
              <a:buClr>
                <a:srgbClr val="15325B"/>
              </a:buClr>
              <a:buSzPts val="1400"/>
              <a:buFont typeface="Darker Grotesque SemiBold"/>
              <a:buChar char="○"/>
              <a:defRPr>
                <a:solidFill>
                  <a:srgbClr val="434343"/>
                </a:solidFill>
              </a:defRPr>
            </a:lvl5pPr>
            <a:lvl6pPr marL="2743200" lvl="5" indent="-317500" rtl="0">
              <a:lnSpc>
                <a:spcPct val="115000"/>
              </a:lnSpc>
              <a:spcBef>
                <a:spcPts val="0"/>
              </a:spcBef>
              <a:spcAft>
                <a:spcPts val="0"/>
              </a:spcAft>
              <a:buClr>
                <a:srgbClr val="15325B"/>
              </a:buClr>
              <a:buSzPts val="1400"/>
              <a:buFont typeface="Darker Grotesque SemiBold"/>
              <a:buChar char="■"/>
              <a:defRPr>
                <a:solidFill>
                  <a:srgbClr val="434343"/>
                </a:solidFill>
              </a:defRPr>
            </a:lvl6pPr>
            <a:lvl7pPr marL="3200400" lvl="6" indent="-317500" rtl="0">
              <a:lnSpc>
                <a:spcPct val="115000"/>
              </a:lnSpc>
              <a:spcBef>
                <a:spcPts val="0"/>
              </a:spcBef>
              <a:spcAft>
                <a:spcPts val="0"/>
              </a:spcAft>
              <a:buClr>
                <a:srgbClr val="15325B"/>
              </a:buClr>
              <a:buSzPts val="1400"/>
              <a:buFont typeface="Darker Grotesque SemiBold"/>
              <a:buChar char="●"/>
              <a:defRPr>
                <a:solidFill>
                  <a:srgbClr val="434343"/>
                </a:solidFill>
              </a:defRPr>
            </a:lvl7pPr>
            <a:lvl8pPr marL="3657600" lvl="7" indent="-317500" rtl="0">
              <a:lnSpc>
                <a:spcPct val="115000"/>
              </a:lnSpc>
              <a:spcBef>
                <a:spcPts val="0"/>
              </a:spcBef>
              <a:spcAft>
                <a:spcPts val="0"/>
              </a:spcAft>
              <a:buClr>
                <a:srgbClr val="15325B"/>
              </a:buClr>
              <a:buSzPts val="1400"/>
              <a:buFont typeface="Darker Grotesque SemiBold"/>
              <a:buChar char="○"/>
              <a:defRPr>
                <a:solidFill>
                  <a:srgbClr val="434343"/>
                </a:solidFill>
              </a:defRPr>
            </a:lvl8pPr>
            <a:lvl9pPr marL="4114800" lvl="8" indent="-317500" rtl="0">
              <a:lnSpc>
                <a:spcPct val="115000"/>
              </a:lnSpc>
              <a:spcBef>
                <a:spcPts val="0"/>
              </a:spcBef>
              <a:spcAft>
                <a:spcPts val="0"/>
              </a:spcAft>
              <a:buClr>
                <a:srgbClr val="15325B"/>
              </a:buClr>
              <a:buSzPts val="1400"/>
              <a:buFont typeface="Darker Grotesque SemiBold"/>
              <a:buChar char="■"/>
              <a:defRPr>
                <a:solidFill>
                  <a:srgbClr val="434343"/>
                </a:solidFill>
              </a:defRPr>
            </a:lvl9pPr>
          </a:lstStyle>
          <a:p>
            <a:endParaRPr/>
          </a:p>
        </p:txBody>
      </p:sp>
      <p:sp>
        <p:nvSpPr>
          <p:cNvPr id="39" name="Google Shape;39;p4"/>
          <p:cNvSpPr/>
          <p:nvPr/>
        </p:nvSpPr>
        <p:spPr>
          <a:xfrm>
            <a:off x="7869273" y="-1426102"/>
            <a:ext cx="2352930" cy="2352930"/>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0" name="Google Shape;40;p4"/>
          <p:cNvSpPr/>
          <p:nvPr/>
        </p:nvSpPr>
        <p:spPr>
          <a:xfrm rot="-5400000">
            <a:off x="-659310" y="4179469"/>
            <a:ext cx="1686418" cy="729495"/>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41" name="Google Shape;41;p4"/>
          <p:cNvGrpSpPr/>
          <p:nvPr/>
        </p:nvGrpSpPr>
        <p:grpSpPr>
          <a:xfrm>
            <a:off x="7522021" y="-362459"/>
            <a:ext cx="901968" cy="901968"/>
            <a:chOff x="1350404" y="-3124999"/>
            <a:chExt cx="1570279" cy="1570279"/>
          </a:xfrm>
        </p:grpSpPr>
        <p:sp>
          <p:nvSpPr>
            <p:cNvPr id="42" name="Google Shape;42;p4"/>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3" name="Google Shape;43;p4"/>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4" name="Google Shape;44;p4"/>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5" name="Google Shape;45;p4"/>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46" name="Google Shape;46;p4"/>
          <p:cNvSpPr/>
          <p:nvPr/>
        </p:nvSpPr>
        <p:spPr>
          <a:xfrm rot="-2700000">
            <a:off x="222460" y="198353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7" name="Google Shape;47;p4"/>
          <p:cNvSpPr/>
          <p:nvPr/>
        </p:nvSpPr>
        <p:spPr>
          <a:xfrm rot="-2700000">
            <a:off x="2415394" y="484106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8" name="Google Shape;48;p4"/>
          <p:cNvSpPr/>
          <p:nvPr/>
        </p:nvSpPr>
        <p:spPr>
          <a:xfrm rot="-2700000">
            <a:off x="4455852" y="13882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 name="Google Shape;49;p4"/>
          <p:cNvSpPr/>
          <p:nvPr/>
        </p:nvSpPr>
        <p:spPr>
          <a:xfrm>
            <a:off x="215272" y="268180"/>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 name="Google Shape;50;p4"/>
          <p:cNvSpPr/>
          <p:nvPr/>
        </p:nvSpPr>
        <p:spPr>
          <a:xfrm rot="-2700000">
            <a:off x="8781469" y="2116186"/>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120"/>
        <p:cNvGrpSpPr/>
        <p:nvPr/>
      </p:nvGrpSpPr>
      <p:grpSpPr>
        <a:xfrm>
          <a:off x="0" y="0"/>
          <a:ext cx="0" cy="0"/>
          <a:chOff x="0" y="0"/>
          <a:chExt cx="0" cy="0"/>
        </a:xfrm>
      </p:grpSpPr>
      <p:sp>
        <p:nvSpPr>
          <p:cNvPr id="121" name="Google Shape;121;p11"/>
          <p:cNvSpPr txBox="1">
            <a:spLocks noGrp="1"/>
          </p:cNvSpPr>
          <p:nvPr>
            <p:ph type="title" hasCustomPrompt="1"/>
          </p:nvPr>
        </p:nvSpPr>
        <p:spPr>
          <a:xfrm>
            <a:off x="4811950" y="1776350"/>
            <a:ext cx="3095400" cy="1024200"/>
          </a:xfrm>
          <a:prstGeom prst="rect">
            <a:avLst/>
          </a:prstGeom>
        </p:spPr>
        <p:txBody>
          <a:bodyPr spcFirstLastPara="1" wrap="square" lIns="91425" tIns="91425" rIns="91425" bIns="91425" anchor="ctr" anchorCtr="0">
            <a:noAutofit/>
          </a:bodyPr>
          <a:lstStyle>
            <a:lvl1pPr lvl="0">
              <a:spcBef>
                <a:spcPts val="0"/>
              </a:spcBef>
              <a:spcAft>
                <a:spcPts val="0"/>
              </a:spcAft>
              <a:buSzPts val="9600"/>
              <a:buNone/>
              <a:defRPr sz="6000"/>
            </a:lvl1pPr>
            <a:lvl2pPr lvl="1" algn="ctr">
              <a:spcBef>
                <a:spcPts val="0"/>
              </a:spcBef>
              <a:spcAft>
                <a:spcPts val="0"/>
              </a:spcAft>
              <a:buSzPts val="9600"/>
              <a:buNone/>
              <a:defRPr sz="9600"/>
            </a:lvl2pPr>
            <a:lvl3pPr lvl="2" algn="ctr">
              <a:spcBef>
                <a:spcPts val="0"/>
              </a:spcBef>
              <a:spcAft>
                <a:spcPts val="0"/>
              </a:spcAft>
              <a:buSzPts val="9600"/>
              <a:buNone/>
              <a:defRPr sz="9600"/>
            </a:lvl3pPr>
            <a:lvl4pPr lvl="3" algn="ctr">
              <a:spcBef>
                <a:spcPts val="0"/>
              </a:spcBef>
              <a:spcAft>
                <a:spcPts val="0"/>
              </a:spcAft>
              <a:buSzPts val="9600"/>
              <a:buNone/>
              <a:defRPr sz="9600"/>
            </a:lvl4pPr>
            <a:lvl5pPr lvl="4" algn="ctr">
              <a:spcBef>
                <a:spcPts val="0"/>
              </a:spcBef>
              <a:spcAft>
                <a:spcPts val="0"/>
              </a:spcAft>
              <a:buSzPts val="9600"/>
              <a:buNone/>
              <a:defRPr sz="9600"/>
            </a:lvl5pPr>
            <a:lvl6pPr lvl="5" algn="ctr">
              <a:spcBef>
                <a:spcPts val="0"/>
              </a:spcBef>
              <a:spcAft>
                <a:spcPts val="0"/>
              </a:spcAft>
              <a:buSzPts val="9600"/>
              <a:buNone/>
              <a:defRPr sz="9600"/>
            </a:lvl6pPr>
            <a:lvl7pPr lvl="6" algn="ctr">
              <a:spcBef>
                <a:spcPts val="0"/>
              </a:spcBef>
              <a:spcAft>
                <a:spcPts val="0"/>
              </a:spcAft>
              <a:buSzPts val="9600"/>
              <a:buNone/>
              <a:defRPr sz="9600"/>
            </a:lvl7pPr>
            <a:lvl8pPr lvl="7" algn="ctr">
              <a:spcBef>
                <a:spcPts val="0"/>
              </a:spcBef>
              <a:spcAft>
                <a:spcPts val="0"/>
              </a:spcAft>
              <a:buSzPts val="9600"/>
              <a:buNone/>
              <a:defRPr sz="9600"/>
            </a:lvl8pPr>
            <a:lvl9pPr lvl="8" algn="ctr">
              <a:spcBef>
                <a:spcPts val="0"/>
              </a:spcBef>
              <a:spcAft>
                <a:spcPts val="0"/>
              </a:spcAft>
              <a:buSzPts val="9600"/>
              <a:buNone/>
              <a:defRPr sz="9600"/>
            </a:lvl9pPr>
          </a:lstStyle>
          <a:p>
            <a:r>
              <a:t>xx%</a:t>
            </a:r>
          </a:p>
        </p:txBody>
      </p:sp>
      <p:sp>
        <p:nvSpPr>
          <p:cNvPr id="122" name="Google Shape;122;p11"/>
          <p:cNvSpPr txBox="1">
            <a:spLocks noGrp="1"/>
          </p:cNvSpPr>
          <p:nvPr>
            <p:ph type="subTitle" idx="1"/>
          </p:nvPr>
        </p:nvSpPr>
        <p:spPr>
          <a:xfrm>
            <a:off x="4811950" y="2864350"/>
            <a:ext cx="3095400" cy="502800"/>
          </a:xfrm>
          <a:prstGeom prst="rect">
            <a:avLst/>
          </a:prstGeom>
          <a:solidFill>
            <a:schemeClr val="dk2"/>
          </a:solidFill>
          <a:ln>
            <a:noFill/>
          </a:ln>
        </p:spPr>
        <p:txBody>
          <a:bodyPr spcFirstLastPara="1" wrap="square" lIns="91425" tIns="91425" rIns="91425" bIns="91425" anchor="t" anchorCtr="0">
            <a:noAutofit/>
          </a:bodyPr>
          <a:lstStyle>
            <a:lvl1pPr lvl="0" rtl="0">
              <a:spcBef>
                <a:spcPts val="0"/>
              </a:spcBef>
              <a:spcAft>
                <a:spcPts val="0"/>
              </a:spcAft>
              <a:buSzPts val="1600"/>
              <a:buNone/>
              <a:defRPr sz="1600"/>
            </a:lvl1pPr>
            <a:lvl2pPr lvl="1" algn="ctr" rtl="0">
              <a:lnSpc>
                <a:spcPct val="100000"/>
              </a:lnSpc>
              <a:spcBef>
                <a:spcPts val="0"/>
              </a:spcBef>
              <a:spcAft>
                <a:spcPts val="0"/>
              </a:spcAft>
              <a:buSzPts val="1600"/>
              <a:buNone/>
              <a:defRPr sz="1600"/>
            </a:lvl2pPr>
            <a:lvl3pPr lvl="2" algn="ctr" rtl="0">
              <a:lnSpc>
                <a:spcPct val="100000"/>
              </a:lnSpc>
              <a:spcBef>
                <a:spcPts val="0"/>
              </a:spcBef>
              <a:spcAft>
                <a:spcPts val="0"/>
              </a:spcAft>
              <a:buSzPts val="1600"/>
              <a:buNone/>
              <a:defRPr sz="1600"/>
            </a:lvl3pPr>
            <a:lvl4pPr lvl="3" algn="ctr" rtl="0">
              <a:lnSpc>
                <a:spcPct val="100000"/>
              </a:lnSpc>
              <a:spcBef>
                <a:spcPts val="0"/>
              </a:spcBef>
              <a:spcAft>
                <a:spcPts val="0"/>
              </a:spcAft>
              <a:buSzPts val="1600"/>
              <a:buNone/>
              <a:defRPr sz="1600"/>
            </a:lvl4pPr>
            <a:lvl5pPr lvl="4" algn="ctr" rtl="0">
              <a:lnSpc>
                <a:spcPct val="100000"/>
              </a:lnSpc>
              <a:spcBef>
                <a:spcPts val="0"/>
              </a:spcBef>
              <a:spcAft>
                <a:spcPts val="0"/>
              </a:spcAft>
              <a:buSzPts val="1600"/>
              <a:buNone/>
              <a:defRPr sz="1600"/>
            </a:lvl5pPr>
            <a:lvl6pPr lvl="5" algn="ctr" rtl="0">
              <a:lnSpc>
                <a:spcPct val="100000"/>
              </a:lnSpc>
              <a:spcBef>
                <a:spcPts val="0"/>
              </a:spcBef>
              <a:spcAft>
                <a:spcPts val="0"/>
              </a:spcAft>
              <a:buSzPts val="1600"/>
              <a:buNone/>
              <a:defRPr sz="1600"/>
            </a:lvl6pPr>
            <a:lvl7pPr lvl="6" algn="ctr" rtl="0">
              <a:lnSpc>
                <a:spcPct val="100000"/>
              </a:lnSpc>
              <a:spcBef>
                <a:spcPts val="0"/>
              </a:spcBef>
              <a:spcAft>
                <a:spcPts val="0"/>
              </a:spcAft>
              <a:buSzPts val="1600"/>
              <a:buNone/>
              <a:defRPr sz="1600"/>
            </a:lvl7pPr>
            <a:lvl8pPr lvl="7" algn="ctr" rtl="0">
              <a:lnSpc>
                <a:spcPct val="100000"/>
              </a:lnSpc>
              <a:spcBef>
                <a:spcPts val="0"/>
              </a:spcBef>
              <a:spcAft>
                <a:spcPts val="0"/>
              </a:spcAft>
              <a:buSzPts val="1600"/>
              <a:buNone/>
              <a:defRPr sz="1600"/>
            </a:lvl8pPr>
            <a:lvl9pPr lvl="8" algn="ctr" rtl="0">
              <a:lnSpc>
                <a:spcPct val="100000"/>
              </a:lnSpc>
              <a:spcBef>
                <a:spcPts val="0"/>
              </a:spcBef>
              <a:spcAft>
                <a:spcPts val="0"/>
              </a:spcAft>
              <a:buSzPts val="1600"/>
              <a:buNone/>
              <a:defRPr sz="1600"/>
            </a:lvl9pPr>
          </a:lstStyle>
          <a:p>
            <a:endParaRPr/>
          </a:p>
        </p:txBody>
      </p:sp>
      <p:sp>
        <p:nvSpPr>
          <p:cNvPr id="123" name="Google Shape;123;p11"/>
          <p:cNvSpPr/>
          <p:nvPr/>
        </p:nvSpPr>
        <p:spPr>
          <a:xfrm>
            <a:off x="-858351" y="1447575"/>
            <a:ext cx="2352930" cy="2352930"/>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4" name="Google Shape;124;p11"/>
          <p:cNvSpPr/>
          <p:nvPr/>
        </p:nvSpPr>
        <p:spPr>
          <a:xfrm rot="10800000">
            <a:off x="5910838" y="4241512"/>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5" name="Google Shape;125;p11"/>
          <p:cNvSpPr/>
          <p:nvPr/>
        </p:nvSpPr>
        <p:spPr>
          <a:xfrm>
            <a:off x="2888113" y="12"/>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6" name="Google Shape;126;p11"/>
          <p:cNvSpPr/>
          <p:nvPr/>
        </p:nvSpPr>
        <p:spPr>
          <a:xfrm>
            <a:off x="7996032" y="-1493732"/>
            <a:ext cx="2306972" cy="2306972"/>
          </a:xfrm>
          <a:custGeom>
            <a:avLst/>
            <a:gdLst/>
            <a:ahLst/>
            <a:cxnLst/>
            <a:rect l="l" t="t" r="r" b="b"/>
            <a:pathLst>
              <a:path w="2306972" h="2306972" extrusionOk="0">
                <a:moveTo>
                  <a:pt x="2306973" y="1153486"/>
                </a:moveTo>
                <a:cubicBezTo>
                  <a:pt x="2306973" y="1790539"/>
                  <a:pt x="1790539" y="2306973"/>
                  <a:pt x="1153486" y="2306973"/>
                </a:cubicBezTo>
                <a:cubicBezTo>
                  <a:pt x="516433" y="2306973"/>
                  <a:pt x="0" y="1790539"/>
                  <a:pt x="0" y="1153486"/>
                </a:cubicBezTo>
                <a:cubicBezTo>
                  <a:pt x="0" y="516434"/>
                  <a:pt x="516433" y="0"/>
                  <a:pt x="1153486" y="0"/>
                </a:cubicBezTo>
                <a:cubicBezTo>
                  <a:pt x="1790539" y="0"/>
                  <a:pt x="2306973" y="516433"/>
                  <a:pt x="2306973" y="1153486"/>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7" name="Google Shape;127;p11"/>
          <p:cNvSpPr/>
          <p:nvPr/>
        </p:nvSpPr>
        <p:spPr>
          <a:xfrm>
            <a:off x="-1137174" y="539498"/>
            <a:ext cx="1666787" cy="1666787"/>
          </a:xfrm>
          <a:custGeom>
            <a:avLst/>
            <a:gdLst/>
            <a:ahLst/>
            <a:cxnLst/>
            <a:rect l="l" t="t" r="r" b="b"/>
            <a:pathLst>
              <a:path w="2306972" h="2306972" extrusionOk="0">
                <a:moveTo>
                  <a:pt x="2306973" y="1153486"/>
                </a:moveTo>
                <a:cubicBezTo>
                  <a:pt x="2306973" y="1790539"/>
                  <a:pt x="1790539" y="2306973"/>
                  <a:pt x="1153486" y="2306973"/>
                </a:cubicBezTo>
                <a:cubicBezTo>
                  <a:pt x="516433" y="2306973"/>
                  <a:pt x="0" y="1790539"/>
                  <a:pt x="0" y="1153486"/>
                </a:cubicBezTo>
                <a:cubicBezTo>
                  <a:pt x="0" y="516434"/>
                  <a:pt x="516433" y="0"/>
                  <a:pt x="1153486" y="0"/>
                </a:cubicBezTo>
                <a:cubicBezTo>
                  <a:pt x="1790539" y="0"/>
                  <a:pt x="2306973" y="516433"/>
                  <a:pt x="2306973" y="1153486"/>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8" name="Google Shape;128;p11"/>
          <p:cNvSpPr/>
          <p:nvPr/>
        </p:nvSpPr>
        <p:spPr>
          <a:xfrm rot="-2700000">
            <a:off x="1710897" y="21904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29" name="Google Shape;129;p11"/>
          <p:cNvSpPr/>
          <p:nvPr/>
        </p:nvSpPr>
        <p:spPr>
          <a:xfrm rot="-2700000">
            <a:off x="3529106" y="4758000"/>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BD0E"/>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0" name="Google Shape;130;p11"/>
          <p:cNvSpPr/>
          <p:nvPr/>
        </p:nvSpPr>
        <p:spPr>
          <a:xfrm rot="-2700000">
            <a:off x="8797665" y="263482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1" name="Google Shape;131;p11"/>
          <p:cNvSpPr/>
          <p:nvPr/>
        </p:nvSpPr>
        <p:spPr>
          <a:xfrm rot="-2700000">
            <a:off x="313323" y="443828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2" name="Google Shape;132;p11"/>
          <p:cNvSpPr/>
          <p:nvPr/>
        </p:nvSpPr>
        <p:spPr>
          <a:xfrm rot="-2700000">
            <a:off x="6748206" y="21906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3" name="Google Shape;133;p11"/>
          <p:cNvSpPr/>
          <p:nvPr/>
        </p:nvSpPr>
        <p:spPr>
          <a:xfrm>
            <a:off x="8528260" y="463265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1"/>
        </a:solidFill>
        <a:effectLst/>
      </p:bgPr>
    </p:bg>
    <p:spTree>
      <p:nvGrpSpPr>
        <p:cNvPr id="1" name="Shape 134"/>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2">
  <p:cSld name="TITLE_ONLY_1_1">
    <p:spTree>
      <p:nvGrpSpPr>
        <p:cNvPr id="1" name="Shape 144"/>
        <p:cNvGrpSpPr/>
        <p:nvPr/>
      </p:nvGrpSpPr>
      <p:grpSpPr>
        <a:xfrm>
          <a:off x="0" y="0"/>
          <a:ext cx="0" cy="0"/>
          <a:chOff x="0" y="0"/>
          <a:chExt cx="0" cy="0"/>
        </a:xfrm>
      </p:grpSpPr>
      <p:sp>
        <p:nvSpPr>
          <p:cNvPr id="145" name="Google Shape;145;p14"/>
          <p:cNvSpPr txBox="1">
            <a:spLocks noGrp="1"/>
          </p:cNvSpPr>
          <p:nvPr>
            <p:ph type="title"/>
          </p:nvPr>
        </p:nvSpPr>
        <p:spPr>
          <a:xfrm>
            <a:off x="720000" y="445025"/>
            <a:ext cx="7704000" cy="572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46" name="Google Shape;146;p14"/>
          <p:cNvSpPr/>
          <p:nvPr/>
        </p:nvSpPr>
        <p:spPr>
          <a:xfrm rot="10800000">
            <a:off x="2828100" y="4740087"/>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47" name="Google Shape;147;p14"/>
          <p:cNvSpPr/>
          <p:nvPr/>
        </p:nvSpPr>
        <p:spPr>
          <a:xfrm>
            <a:off x="8635807" y="-422119"/>
            <a:ext cx="2306972" cy="2306972"/>
          </a:xfrm>
          <a:custGeom>
            <a:avLst/>
            <a:gdLst/>
            <a:ahLst/>
            <a:cxnLst/>
            <a:rect l="l" t="t" r="r" b="b"/>
            <a:pathLst>
              <a:path w="2306972" h="2306972" extrusionOk="0">
                <a:moveTo>
                  <a:pt x="2306973" y="1153486"/>
                </a:moveTo>
                <a:cubicBezTo>
                  <a:pt x="2306973" y="1790539"/>
                  <a:pt x="1790539" y="2306973"/>
                  <a:pt x="1153486" y="2306973"/>
                </a:cubicBezTo>
                <a:cubicBezTo>
                  <a:pt x="516433" y="2306973"/>
                  <a:pt x="0" y="1790539"/>
                  <a:pt x="0" y="1153486"/>
                </a:cubicBezTo>
                <a:cubicBezTo>
                  <a:pt x="0" y="516434"/>
                  <a:pt x="516433" y="0"/>
                  <a:pt x="1153486" y="0"/>
                </a:cubicBezTo>
                <a:cubicBezTo>
                  <a:pt x="1790539" y="0"/>
                  <a:pt x="2306973" y="516433"/>
                  <a:pt x="2306973" y="1153486"/>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148" name="Google Shape;148;p14"/>
          <p:cNvGrpSpPr/>
          <p:nvPr/>
        </p:nvGrpSpPr>
        <p:grpSpPr>
          <a:xfrm>
            <a:off x="-306292" y="912466"/>
            <a:ext cx="901968" cy="901968"/>
            <a:chOff x="1350404" y="-3124999"/>
            <a:chExt cx="1570279" cy="1570279"/>
          </a:xfrm>
        </p:grpSpPr>
        <p:sp>
          <p:nvSpPr>
            <p:cNvPr id="149" name="Google Shape;149;p14"/>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0" name="Google Shape;150;p14"/>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1" name="Google Shape;151;p14"/>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2" name="Google Shape;152;p14"/>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153" name="Google Shape;153;p14"/>
          <p:cNvSpPr/>
          <p:nvPr/>
        </p:nvSpPr>
        <p:spPr>
          <a:xfrm rot="-2700000">
            <a:off x="163372" y="386774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4" name="Google Shape;154;p14"/>
          <p:cNvSpPr/>
          <p:nvPr/>
        </p:nvSpPr>
        <p:spPr>
          <a:xfrm rot="-2700000">
            <a:off x="8758815" y="463242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5" name="Google Shape;155;p14"/>
          <p:cNvSpPr/>
          <p:nvPr/>
        </p:nvSpPr>
        <p:spPr>
          <a:xfrm rot="-2700000">
            <a:off x="8758810" y="234080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6" name="Google Shape;156;p14"/>
          <p:cNvSpPr/>
          <p:nvPr/>
        </p:nvSpPr>
        <p:spPr>
          <a:xfrm rot="-2700000">
            <a:off x="4503356" y="18311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57" name="Google Shape;157;p14"/>
          <p:cNvSpPr/>
          <p:nvPr/>
        </p:nvSpPr>
        <p:spPr>
          <a:xfrm>
            <a:off x="2473085" y="4740080"/>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text ">
  <p:cSld name="CUSTOM_1">
    <p:spTree>
      <p:nvGrpSpPr>
        <p:cNvPr id="1" name="Shape 203"/>
        <p:cNvGrpSpPr/>
        <p:nvPr/>
      </p:nvGrpSpPr>
      <p:grpSpPr>
        <a:xfrm>
          <a:off x="0" y="0"/>
          <a:ext cx="0" cy="0"/>
          <a:chOff x="0" y="0"/>
          <a:chExt cx="0" cy="0"/>
        </a:xfrm>
      </p:grpSpPr>
      <p:sp>
        <p:nvSpPr>
          <p:cNvPr id="204" name="Google Shape;204;p19"/>
          <p:cNvSpPr txBox="1">
            <a:spLocks noGrp="1"/>
          </p:cNvSpPr>
          <p:nvPr>
            <p:ph type="subTitle" idx="1"/>
          </p:nvPr>
        </p:nvSpPr>
        <p:spPr>
          <a:xfrm>
            <a:off x="4938050" y="2727754"/>
            <a:ext cx="3346200" cy="8679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a:lvl1pPr>
            <a:lvl2pPr lvl="1" algn="r" rtl="0">
              <a:lnSpc>
                <a:spcPct val="100000"/>
              </a:lnSpc>
              <a:spcBef>
                <a:spcPts val="0"/>
              </a:spcBef>
              <a:spcAft>
                <a:spcPts val="0"/>
              </a:spcAft>
              <a:buSzPts val="1400"/>
              <a:buNone/>
              <a:defRPr/>
            </a:lvl2pPr>
            <a:lvl3pPr lvl="2" algn="r" rtl="0">
              <a:lnSpc>
                <a:spcPct val="100000"/>
              </a:lnSpc>
              <a:spcBef>
                <a:spcPts val="0"/>
              </a:spcBef>
              <a:spcAft>
                <a:spcPts val="0"/>
              </a:spcAft>
              <a:buSzPts val="1400"/>
              <a:buNone/>
              <a:defRPr/>
            </a:lvl3pPr>
            <a:lvl4pPr lvl="3" algn="r" rtl="0">
              <a:lnSpc>
                <a:spcPct val="100000"/>
              </a:lnSpc>
              <a:spcBef>
                <a:spcPts val="0"/>
              </a:spcBef>
              <a:spcAft>
                <a:spcPts val="0"/>
              </a:spcAft>
              <a:buSzPts val="1400"/>
              <a:buNone/>
              <a:defRPr/>
            </a:lvl4pPr>
            <a:lvl5pPr lvl="4" algn="r" rtl="0">
              <a:lnSpc>
                <a:spcPct val="100000"/>
              </a:lnSpc>
              <a:spcBef>
                <a:spcPts val="0"/>
              </a:spcBef>
              <a:spcAft>
                <a:spcPts val="0"/>
              </a:spcAft>
              <a:buSzPts val="1400"/>
              <a:buNone/>
              <a:defRPr/>
            </a:lvl5pPr>
            <a:lvl6pPr lvl="5" algn="r" rtl="0">
              <a:lnSpc>
                <a:spcPct val="100000"/>
              </a:lnSpc>
              <a:spcBef>
                <a:spcPts val="0"/>
              </a:spcBef>
              <a:spcAft>
                <a:spcPts val="0"/>
              </a:spcAft>
              <a:buSzPts val="1400"/>
              <a:buNone/>
              <a:defRPr/>
            </a:lvl6pPr>
            <a:lvl7pPr lvl="6" algn="r" rtl="0">
              <a:lnSpc>
                <a:spcPct val="100000"/>
              </a:lnSpc>
              <a:spcBef>
                <a:spcPts val="0"/>
              </a:spcBef>
              <a:spcAft>
                <a:spcPts val="0"/>
              </a:spcAft>
              <a:buSzPts val="1400"/>
              <a:buNone/>
              <a:defRPr/>
            </a:lvl7pPr>
            <a:lvl8pPr lvl="7" algn="r" rtl="0">
              <a:lnSpc>
                <a:spcPct val="100000"/>
              </a:lnSpc>
              <a:spcBef>
                <a:spcPts val="0"/>
              </a:spcBef>
              <a:spcAft>
                <a:spcPts val="0"/>
              </a:spcAft>
              <a:buSzPts val="1400"/>
              <a:buNone/>
              <a:defRPr/>
            </a:lvl8pPr>
            <a:lvl9pPr lvl="8" algn="r" rtl="0">
              <a:lnSpc>
                <a:spcPct val="100000"/>
              </a:lnSpc>
              <a:spcBef>
                <a:spcPts val="0"/>
              </a:spcBef>
              <a:spcAft>
                <a:spcPts val="0"/>
              </a:spcAft>
              <a:buSzPts val="1400"/>
              <a:buNone/>
              <a:defRPr/>
            </a:lvl9pPr>
          </a:lstStyle>
          <a:p>
            <a:endParaRPr/>
          </a:p>
        </p:txBody>
      </p:sp>
      <p:sp>
        <p:nvSpPr>
          <p:cNvPr id="205" name="Google Shape;205;p19"/>
          <p:cNvSpPr txBox="1">
            <a:spLocks noGrp="1"/>
          </p:cNvSpPr>
          <p:nvPr>
            <p:ph type="title"/>
          </p:nvPr>
        </p:nvSpPr>
        <p:spPr>
          <a:xfrm>
            <a:off x="715100" y="445025"/>
            <a:ext cx="7704000" cy="572700"/>
          </a:xfrm>
          <a:prstGeom prst="rect">
            <a:avLst/>
          </a:prstGeom>
          <a:ln>
            <a:noFill/>
          </a:ln>
        </p:spPr>
        <p:txBody>
          <a:bodyPr spcFirstLastPara="1" wrap="square" lIns="91425" tIns="91425" rIns="91425" bIns="91425" anchor="t" anchorCtr="0">
            <a:noAutofit/>
          </a:bodyPr>
          <a:lstStyle>
            <a:lvl1pPr lvl="0" algn="ctr" rtl="0">
              <a:spcBef>
                <a:spcPts val="0"/>
              </a:spcBef>
              <a:spcAft>
                <a:spcPts val="0"/>
              </a:spcAft>
              <a:buSzPts val="3000"/>
              <a:buNone/>
              <a:defRPr/>
            </a:lvl1pPr>
            <a:lvl2pPr lvl="1" algn="r" rtl="0">
              <a:spcBef>
                <a:spcPts val="0"/>
              </a:spcBef>
              <a:spcAft>
                <a:spcPts val="0"/>
              </a:spcAft>
              <a:buSzPts val="3500"/>
              <a:buNone/>
              <a:defRPr/>
            </a:lvl2pPr>
            <a:lvl3pPr lvl="2" algn="r" rtl="0">
              <a:spcBef>
                <a:spcPts val="0"/>
              </a:spcBef>
              <a:spcAft>
                <a:spcPts val="0"/>
              </a:spcAft>
              <a:buSzPts val="3500"/>
              <a:buNone/>
              <a:defRPr/>
            </a:lvl3pPr>
            <a:lvl4pPr lvl="3" algn="r" rtl="0">
              <a:spcBef>
                <a:spcPts val="0"/>
              </a:spcBef>
              <a:spcAft>
                <a:spcPts val="0"/>
              </a:spcAft>
              <a:buSzPts val="3500"/>
              <a:buNone/>
              <a:defRPr/>
            </a:lvl4pPr>
            <a:lvl5pPr lvl="4" algn="r" rtl="0">
              <a:spcBef>
                <a:spcPts val="0"/>
              </a:spcBef>
              <a:spcAft>
                <a:spcPts val="0"/>
              </a:spcAft>
              <a:buSzPts val="3500"/>
              <a:buNone/>
              <a:defRPr/>
            </a:lvl5pPr>
            <a:lvl6pPr lvl="5" algn="r" rtl="0">
              <a:spcBef>
                <a:spcPts val="0"/>
              </a:spcBef>
              <a:spcAft>
                <a:spcPts val="0"/>
              </a:spcAft>
              <a:buSzPts val="3500"/>
              <a:buNone/>
              <a:defRPr/>
            </a:lvl6pPr>
            <a:lvl7pPr lvl="6" algn="r" rtl="0">
              <a:spcBef>
                <a:spcPts val="0"/>
              </a:spcBef>
              <a:spcAft>
                <a:spcPts val="0"/>
              </a:spcAft>
              <a:buSzPts val="3500"/>
              <a:buNone/>
              <a:defRPr/>
            </a:lvl7pPr>
            <a:lvl8pPr lvl="7" algn="r" rtl="0">
              <a:spcBef>
                <a:spcPts val="0"/>
              </a:spcBef>
              <a:spcAft>
                <a:spcPts val="0"/>
              </a:spcAft>
              <a:buSzPts val="3500"/>
              <a:buNone/>
              <a:defRPr/>
            </a:lvl8pPr>
            <a:lvl9pPr lvl="8" algn="r" rtl="0">
              <a:spcBef>
                <a:spcPts val="0"/>
              </a:spcBef>
              <a:spcAft>
                <a:spcPts val="0"/>
              </a:spcAft>
              <a:buSzPts val="35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three columns">
  <p:cSld name="BLANK_1_1_1_2">
    <p:spTree>
      <p:nvGrpSpPr>
        <p:cNvPr id="1" name="Shape 235"/>
        <p:cNvGrpSpPr/>
        <p:nvPr/>
      </p:nvGrpSpPr>
      <p:grpSpPr>
        <a:xfrm>
          <a:off x="0" y="0"/>
          <a:ext cx="0" cy="0"/>
          <a:chOff x="0" y="0"/>
          <a:chExt cx="0" cy="0"/>
        </a:xfrm>
      </p:grpSpPr>
      <p:sp>
        <p:nvSpPr>
          <p:cNvPr id="236" name="Google Shape;236;p22"/>
          <p:cNvSpPr txBox="1">
            <a:spLocks noGrp="1"/>
          </p:cNvSpPr>
          <p:nvPr>
            <p:ph type="subTitle" idx="1"/>
          </p:nvPr>
        </p:nvSpPr>
        <p:spPr>
          <a:xfrm>
            <a:off x="3780475" y="1545650"/>
            <a:ext cx="46503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37" name="Google Shape;237;p22"/>
          <p:cNvSpPr txBox="1">
            <a:spLocks noGrp="1"/>
          </p:cNvSpPr>
          <p:nvPr>
            <p:ph type="title"/>
          </p:nvPr>
        </p:nvSpPr>
        <p:spPr>
          <a:xfrm>
            <a:off x="720000" y="445025"/>
            <a:ext cx="7704000" cy="572700"/>
          </a:xfrm>
          <a:prstGeom prst="rect">
            <a:avLst/>
          </a:prstGeom>
          <a:ln>
            <a:noFill/>
          </a:ln>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38" name="Google Shape;238;p22"/>
          <p:cNvSpPr txBox="1">
            <a:spLocks noGrp="1"/>
          </p:cNvSpPr>
          <p:nvPr>
            <p:ph type="subTitle" idx="2"/>
          </p:nvPr>
        </p:nvSpPr>
        <p:spPr>
          <a:xfrm>
            <a:off x="3780475" y="1212500"/>
            <a:ext cx="46503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solidFill>
                  <a:srgbClr val="17175A"/>
                </a:solidFill>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39" name="Google Shape;239;p22"/>
          <p:cNvSpPr txBox="1">
            <a:spLocks noGrp="1"/>
          </p:cNvSpPr>
          <p:nvPr>
            <p:ph type="subTitle" idx="3"/>
          </p:nvPr>
        </p:nvSpPr>
        <p:spPr>
          <a:xfrm>
            <a:off x="3780475" y="2716013"/>
            <a:ext cx="46503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40" name="Google Shape;240;p22"/>
          <p:cNvSpPr txBox="1">
            <a:spLocks noGrp="1"/>
          </p:cNvSpPr>
          <p:nvPr>
            <p:ph type="subTitle" idx="4"/>
          </p:nvPr>
        </p:nvSpPr>
        <p:spPr>
          <a:xfrm>
            <a:off x="3780475" y="2382863"/>
            <a:ext cx="46503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solidFill>
                  <a:srgbClr val="17175A"/>
                </a:solidFill>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41" name="Google Shape;241;p22"/>
          <p:cNvSpPr txBox="1">
            <a:spLocks noGrp="1"/>
          </p:cNvSpPr>
          <p:nvPr>
            <p:ph type="subTitle" idx="5"/>
          </p:nvPr>
        </p:nvSpPr>
        <p:spPr>
          <a:xfrm>
            <a:off x="3780475" y="3886375"/>
            <a:ext cx="46503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42" name="Google Shape;242;p22"/>
          <p:cNvSpPr txBox="1">
            <a:spLocks noGrp="1"/>
          </p:cNvSpPr>
          <p:nvPr>
            <p:ph type="subTitle" idx="6"/>
          </p:nvPr>
        </p:nvSpPr>
        <p:spPr>
          <a:xfrm>
            <a:off x="3780475" y="3553225"/>
            <a:ext cx="46503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solidFill>
                  <a:srgbClr val="17175A"/>
                </a:solidFill>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43" name="Google Shape;243;p22"/>
          <p:cNvSpPr/>
          <p:nvPr/>
        </p:nvSpPr>
        <p:spPr>
          <a:xfrm>
            <a:off x="-1159675" y="3421300"/>
            <a:ext cx="2592501" cy="2592501"/>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44" name="Google Shape;244;p22"/>
          <p:cNvSpPr/>
          <p:nvPr/>
        </p:nvSpPr>
        <p:spPr>
          <a:xfrm>
            <a:off x="4591750" y="-412263"/>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45" name="Google Shape;245;p22"/>
          <p:cNvSpPr/>
          <p:nvPr/>
        </p:nvSpPr>
        <p:spPr>
          <a:xfrm rot="-2700000">
            <a:off x="8806072" y="4127247"/>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46" name="Google Shape;246;p22"/>
          <p:cNvSpPr/>
          <p:nvPr/>
        </p:nvSpPr>
        <p:spPr>
          <a:xfrm rot="-2700000">
            <a:off x="8737815" y="56792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47" name="Google Shape;247;p22"/>
          <p:cNvSpPr/>
          <p:nvPr/>
        </p:nvSpPr>
        <p:spPr>
          <a:xfrm rot="-2700000">
            <a:off x="2888948" y="474213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48" name="Google Shape;248;p22"/>
          <p:cNvSpPr/>
          <p:nvPr/>
        </p:nvSpPr>
        <p:spPr>
          <a:xfrm rot="-2700000">
            <a:off x="180556" y="279311"/>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49" name="Google Shape;249;p22"/>
          <p:cNvSpPr/>
          <p:nvPr/>
        </p:nvSpPr>
        <p:spPr>
          <a:xfrm>
            <a:off x="346285" y="225305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250" name="Google Shape;250;p22"/>
          <p:cNvGrpSpPr/>
          <p:nvPr/>
        </p:nvGrpSpPr>
        <p:grpSpPr>
          <a:xfrm>
            <a:off x="4121021" y="-456934"/>
            <a:ext cx="901968" cy="901968"/>
            <a:chOff x="1350404" y="-3124999"/>
            <a:chExt cx="1570279" cy="1570279"/>
          </a:xfrm>
        </p:grpSpPr>
        <p:sp>
          <p:nvSpPr>
            <p:cNvPr id="251" name="Google Shape;251;p22"/>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52" name="Google Shape;252;p22"/>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53" name="Google Shape;253;p22"/>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54" name="Google Shape;254;p22"/>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four columns">
  <p:cSld name="BLANK_1_1_1_1_2">
    <p:spTree>
      <p:nvGrpSpPr>
        <p:cNvPr id="1" name="Shape 255"/>
        <p:cNvGrpSpPr/>
        <p:nvPr/>
      </p:nvGrpSpPr>
      <p:grpSpPr>
        <a:xfrm>
          <a:off x="0" y="0"/>
          <a:ext cx="0" cy="0"/>
          <a:chOff x="0" y="0"/>
          <a:chExt cx="0" cy="0"/>
        </a:xfrm>
      </p:grpSpPr>
      <p:sp>
        <p:nvSpPr>
          <p:cNvPr id="256" name="Google Shape;256;p23"/>
          <p:cNvSpPr txBox="1">
            <a:spLocks noGrp="1"/>
          </p:cNvSpPr>
          <p:nvPr>
            <p:ph type="subTitle" idx="1"/>
          </p:nvPr>
        </p:nvSpPr>
        <p:spPr>
          <a:xfrm>
            <a:off x="1647700" y="1527800"/>
            <a:ext cx="6222000" cy="4050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57" name="Google Shape;257;p23"/>
          <p:cNvSpPr txBox="1">
            <a:spLocks noGrp="1"/>
          </p:cNvSpPr>
          <p:nvPr>
            <p:ph type="title"/>
          </p:nvPr>
        </p:nvSpPr>
        <p:spPr>
          <a:xfrm>
            <a:off x="720000" y="445025"/>
            <a:ext cx="7704000" cy="572700"/>
          </a:xfrm>
          <a:prstGeom prst="rect">
            <a:avLst/>
          </a:prstGeom>
          <a:ln>
            <a:noFill/>
          </a:ln>
        </p:spPr>
        <p:txBody>
          <a:bodyPr spcFirstLastPara="1" wrap="square" lIns="91425" tIns="91425" rIns="91425" bIns="91425" anchor="t" anchorCtr="0">
            <a:noAutofit/>
          </a:bodyPr>
          <a:lstStyle>
            <a:lvl1pPr lvl="0" algn="ctr"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58" name="Google Shape;258;p23"/>
          <p:cNvSpPr txBox="1">
            <a:spLocks noGrp="1"/>
          </p:cNvSpPr>
          <p:nvPr>
            <p:ph type="title" idx="2" hasCustomPrompt="1"/>
          </p:nvPr>
        </p:nvSpPr>
        <p:spPr>
          <a:xfrm>
            <a:off x="796200" y="1270850"/>
            <a:ext cx="731400" cy="447600"/>
          </a:xfrm>
          <a:prstGeom prst="rect">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000"/>
              <a:buNone/>
              <a:defRPr sz="24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259" name="Google Shape;259;p23"/>
          <p:cNvSpPr txBox="1">
            <a:spLocks noGrp="1"/>
          </p:cNvSpPr>
          <p:nvPr>
            <p:ph type="subTitle" idx="3"/>
          </p:nvPr>
        </p:nvSpPr>
        <p:spPr>
          <a:xfrm>
            <a:off x="1647700" y="1194650"/>
            <a:ext cx="62220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60" name="Google Shape;260;p23"/>
          <p:cNvSpPr txBox="1">
            <a:spLocks noGrp="1"/>
          </p:cNvSpPr>
          <p:nvPr>
            <p:ph type="subTitle" idx="4"/>
          </p:nvPr>
        </p:nvSpPr>
        <p:spPr>
          <a:xfrm>
            <a:off x="1647700" y="2392800"/>
            <a:ext cx="6222000" cy="4050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61" name="Google Shape;261;p23"/>
          <p:cNvSpPr txBox="1">
            <a:spLocks noGrp="1"/>
          </p:cNvSpPr>
          <p:nvPr>
            <p:ph type="title" idx="5" hasCustomPrompt="1"/>
          </p:nvPr>
        </p:nvSpPr>
        <p:spPr>
          <a:xfrm>
            <a:off x="796200" y="2135850"/>
            <a:ext cx="731400" cy="447600"/>
          </a:xfrm>
          <a:prstGeom prst="rect">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000"/>
              <a:buNone/>
              <a:defRPr sz="24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262" name="Google Shape;262;p23"/>
          <p:cNvSpPr txBox="1">
            <a:spLocks noGrp="1"/>
          </p:cNvSpPr>
          <p:nvPr>
            <p:ph type="subTitle" idx="6"/>
          </p:nvPr>
        </p:nvSpPr>
        <p:spPr>
          <a:xfrm>
            <a:off x="1647700" y="2059650"/>
            <a:ext cx="62220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63" name="Google Shape;263;p23"/>
          <p:cNvSpPr txBox="1">
            <a:spLocks noGrp="1"/>
          </p:cNvSpPr>
          <p:nvPr>
            <p:ph type="subTitle" idx="7"/>
          </p:nvPr>
        </p:nvSpPr>
        <p:spPr>
          <a:xfrm>
            <a:off x="1647700" y="3257800"/>
            <a:ext cx="6222000" cy="4050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64" name="Google Shape;264;p23"/>
          <p:cNvSpPr txBox="1">
            <a:spLocks noGrp="1"/>
          </p:cNvSpPr>
          <p:nvPr>
            <p:ph type="title" idx="8" hasCustomPrompt="1"/>
          </p:nvPr>
        </p:nvSpPr>
        <p:spPr>
          <a:xfrm>
            <a:off x="796200" y="3000850"/>
            <a:ext cx="731400" cy="447600"/>
          </a:xfrm>
          <a:prstGeom prst="rect">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000"/>
              <a:buNone/>
              <a:defRPr sz="24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265" name="Google Shape;265;p23"/>
          <p:cNvSpPr txBox="1">
            <a:spLocks noGrp="1"/>
          </p:cNvSpPr>
          <p:nvPr>
            <p:ph type="subTitle" idx="9"/>
          </p:nvPr>
        </p:nvSpPr>
        <p:spPr>
          <a:xfrm>
            <a:off x="1647700" y="2924650"/>
            <a:ext cx="62220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66" name="Google Shape;266;p23"/>
          <p:cNvSpPr txBox="1">
            <a:spLocks noGrp="1"/>
          </p:cNvSpPr>
          <p:nvPr>
            <p:ph type="subTitle" idx="13"/>
          </p:nvPr>
        </p:nvSpPr>
        <p:spPr>
          <a:xfrm>
            <a:off x="1647700" y="4122800"/>
            <a:ext cx="6222000" cy="4050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67" name="Google Shape;267;p23"/>
          <p:cNvSpPr txBox="1">
            <a:spLocks noGrp="1"/>
          </p:cNvSpPr>
          <p:nvPr>
            <p:ph type="title" idx="14" hasCustomPrompt="1"/>
          </p:nvPr>
        </p:nvSpPr>
        <p:spPr>
          <a:xfrm>
            <a:off x="796200" y="3865850"/>
            <a:ext cx="731400" cy="447600"/>
          </a:xfrm>
          <a:prstGeom prst="rect">
            <a:avLst/>
          </a:prstGeom>
          <a:no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lvl1pPr lvl="0" rtl="0">
              <a:spcBef>
                <a:spcPts val="0"/>
              </a:spcBef>
              <a:spcAft>
                <a:spcPts val="0"/>
              </a:spcAft>
              <a:buSzPts val="3000"/>
              <a:buNone/>
              <a:defRPr sz="2400"/>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268" name="Google Shape;268;p23"/>
          <p:cNvSpPr txBox="1">
            <a:spLocks noGrp="1"/>
          </p:cNvSpPr>
          <p:nvPr>
            <p:ph type="subTitle" idx="15"/>
          </p:nvPr>
        </p:nvSpPr>
        <p:spPr>
          <a:xfrm>
            <a:off x="1647700" y="3789650"/>
            <a:ext cx="6222000" cy="44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Bebas Neue"/>
              <a:buNone/>
              <a:defRPr sz="2000">
                <a:latin typeface="Passion One"/>
                <a:ea typeface="Passion One"/>
                <a:cs typeface="Passion One"/>
                <a:sym typeface="Passion One"/>
              </a:defRPr>
            </a:lvl1pPr>
            <a:lvl2pPr lvl="1" algn="ctr" rtl="0">
              <a:lnSpc>
                <a:spcPct val="100000"/>
              </a:lnSpc>
              <a:spcBef>
                <a:spcPts val="0"/>
              </a:spcBef>
              <a:spcAft>
                <a:spcPts val="0"/>
              </a:spcAft>
              <a:buSzPts val="2400"/>
              <a:buFont typeface="Bebas Neue"/>
              <a:buNone/>
              <a:defRPr sz="2400">
                <a:latin typeface="Bebas Neue"/>
                <a:ea typeface="Bebas Neue"/>
                <a:cs typeface="Bebas Neue"/>
                <a:sym typeface="Bebas Neue"/>
              </a:defRPr>
            </a:lvl2pPr>
            <a:lvl3pPr lvl="2" algn="ctr" rtl="0">
              <a:lnSpc>
                <a:spcPct val="100000"/>
              </a:lnSpc>
              <a:spcBef>
                <a:spcPts val="0"/>
              </a:spcBef>
              <a:spcAft>
                <a:spcPts val="0"/>
              </a:spcAft>
              <a:buSzPts val="2400"/>
              <a:buFont typeface="Bebas Neue"/>
              <a:buNone/>
              <a:defRPr sz="2400">
                <a:latin typeface="Bebas Neue"/>
                <a:ea typeface="Bebas Neue"/>
                <a:cs typeface="Bebas Neue"/>
                <a:sym typeface="Bebas Neue"/>
              </a:defRPr>
            </a:lvl3pPr>
            <a:lvl4pPr lvl="3" algn="ctr" rtl="0">
              <a:lnSpc>
                <a:spcPct val="100000"/>
              </a:lnSpc>
              <a:spcBef>
                <a:spcPts val="0"/>
              </a:spcBef>
              <a:spcAft>
                <a:spcPts val="0"/>
              </a:spcAft>
              <a:buSzPts val="2400"/>
              <a:buFont typeface="Bebas Neue"/>
              <a:buNone/>
              <a:defRPr sz="2400">
                <a:latin typeface="Bebas Neue"/>
                <a:ea typeface="Bebas Neue"/>
                <a:cs typeface="Bebas Neue"/>
                <a:sym typeface="Bebas Neue"/>
              </a:defRPr>
            </a:lvl4pPr>
            <a:lvl5pPr lvl="4" algn="ctr" rtl="0">
              <a:lnSpc>
                <a:spcPct val="100000"/>
              </a:lnSpc>
              <a:spcBef>
                <a:spcPts val="0"/>
              </a:spcBef>
              <a:spcAft>
                <a:spcPts val="0"/>
              </a:spcAft>
              <a:buSzPts val="2400"/>
              <a:buFont typeface="Bebas Neue"/>
              <a:buNone/>
              <a:defRPr sz="2400">
                <a:latin typeface="Bebas Neue"/>
                <a:ea typeface="Bebas Neue"/>
                <a:cs typeface="Bebas Neue"/>
                <a:sym typeface="Bebas Neue"/>
              </a:defRPr>
            </a:lvl5pPr>
            <a:lvl6pPr lvl="5" algn="ctr" rtl="0">
              <a:lnSpc>
                <a:spcPct val="100000"/>
              </a:lnSpc>
              <a:spcBef>
                <a:spcPts val="0"/>
              </a:spcBef>
              <a:spcAft>
                <a:spcPts val="0"/>
              </a:spcAft>
              <a:buSzPts val="2400"/>
              <a:buFont typeface="Bebas Neue"/>
              <a:buNone/>
              <a:defRPr sz="2400">
                <a:latin typeface="Bebas Neue"/>
                <a:ea typeface="Bebas Neue"/>
                <a:cs typeface="Bebas Neue"/>
                <a:sym typeface="Bebas Neue"/>
              </a:defRPr>
            </a:lvl6pPr>
            <a:lvl7pPr lvl="6" algn="ctr" rtl="0">
              <a:lnSpc>
                <a:spcPct val="100000"/>
              </a:lnSpc>
              <a:spcBef>
                <a:spcPts val="0"/>
              </a:spcBef>
              <a:spcAft>
                <a:spcPts val="0"/>
              </a:spcAft>
              <a:buSzPts val="2400"/>
              <a:buFont typeface="Bebas Neue"/>
              <a:buNone/>
              <a:defRPr sz="2400">
                <a:latin typeface="Bebas Neue"/>
                <a:ea typeface="Bebas Neue"/>
                <a:cs typeface="Bebas Neue"/>
                <a:sym typeface="Bebas Neue"/>
              </a:defRPr>
            </a:lvl7pPr>
            <a:lvl8pPr lvl="7" algn="ctr" rtl="0">
              <a:lnSpc>
                <a:spcPct val="100000"/>
              </a:lnSpc>
              <a:spcBef>
                <a:spcPts val="0"/>
              </a:spcBef>
              <a:spcAft>
                <a:spcPts val="0"/>
              </a:spcAft>
              <a:buSzPts val="2400"/>
              <a:buFont typeface="Bebas Neue"/>
              <a:buNone/>
              <a:defRPr sz="2400">
                <a:latin typeface="Bebas Neue"/>
                <a:ea typeface="Bebas Neue"/>
                <a:cs typeface="Bebas Neue"/>
                <a:sym typeface="Bebas Neue"/>
              </a:defRPr>
            </a:lvl8pPr>
            <a:lvl9pPr lvl="8" algn="ctr" rtl="0">
              <a:lnSpc>
                <a:spcPct val="100000"/>
              </a:lnSpc>
              <a:spcBef>
                <a:spcPts val="0"/>
              </a:spcBef>
              <a:spcAft>
                <a:spcPts val="0"/>
              </a:spcAft>
              <a:buSzPts val="2400"/>
              <a:buFont typeface="Bebas Neue"/>
              <a:buNone/>
              <a:defRPr sz="2400">
                <a:latin typeface="Bebas Neue"/>
                <a:ea typeface="Bebas Neue"/>
                <a:cs typeface="Bebas Neue"/>
                <a:sym typeface="Bebas Neue"/>
              </a:defRPr>
            </a:lvl9pPr>
          </a:lstStyle>
          <a:p>
            <a:endParaRPr/>
          </a:p>
        </p:txBody>
      </p:sp>
      <p:sp>
        <p:nvSpPr>
          <p:cNvPr id="269" name="Google Shape;269;p23"/>
          <p:cNvSpPr/>
          <p:nvPr/>
        </p:nvSpPr>
        <p:spPr>
          <a:xfrm>
            <a:off x="-1584350" y="287197"/>
            <a:ext cx="2181807" cy="2181807"/>
          </a:xfrm>
          <a:custGeom>
            <a:avLst/>
            <a:gdLst/>
            <a:ahLst/>
            <a:cxnLst/>
            <a:rect l="l" t="t" r="r" b="b"/>
            <a:pathLst>
              <a:path w="3422443" h="3422443" extrusionOk="0">
                <a:moveTo>
                  <a:pt x="2259660" y="227159"/>
                </a:moveTo>
                <a:lnTo>
                  <a:pt x="3195285" y="1162784"/>
                </a:lnTo>
                <a:cubicBezTo>
                  <a:pt x="3498163" y="1465663"/>
                  <a:pt x="3498163" y="1956752"/>
                  <a:pt x="3195285" y="2259660"/>
                </a:cubicBezTo>
                <a:lnTo>
                  <a:pt x="2259660" y="3195285"/>
                </a:lnTo>
                <a:cubicBezTo>
                  <a:pt x="1956781" y="3498164"/>
                  <a:pt x="1465692" y="3498164"/>
                  <a:pt x="1162784" y="3195285"/>
                </a:cubicBezTo>
                <a:lnTo>
                  <a:pt x="227159" y="2259660"/>
                </a:lnTo>
                <a:cubicBezTo>
                  <a:pt x="-75720" y="1956781"/>
                  <a:pt x="-75720" y="1465691"/>
                  <a:pt x="227159" y="1162784"/>
                </a:cubicBezTo>
                <a:lnTo>
                  <a:pt x="1162784" y="227159"/>
                </a:lnTo>
                <a:cubicBezTo>
                  <a:pt x="1465663" y="-75720"/>
                  <a:pt x="1956752" y="-75720"/>
                  <a:pt x="2259660" y="227159"/>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0" name="Google Shape;270;p23"/>
          <p:cNvSpPr/>
          <p:nvPr/>
        </p:nvSpPr>
        <p:spPr>
          <a:xfrm rot="5400000">
            <a:off x="7650425" y="3747962"/>
            <a:ext cx="2085177" cy="901987"/>
          </a:xfrm>
          <a:custGeom>
            <a:avLst/>
            <a:gdLst/>
            <a:ahLst/>
            <a:cxnLst/>
            <a:rect l="l" t="t" r="r" b="b"/>
            <a:pathLst>
              <a:path w="3322991" h="1437429" extrusionOk="0">
                <a:moveTo>
                  <a:pt x="3322992" y="0"/>
                </a:moveTo>
                <a:cubicBezTo>
                  <a:pt x="3285309" y="100131"/>
                  <a:pt x="3226156" y="194049"/>
                  <a:pt x="3145559" y="274645"/>
                </a:cubicBezTo>
                <a:lnTo>
                  <a:pt x="2209934" y="1210270"/>
                </a:lnTo>
                <a:cubicBezTo>
                  <a:pt x="1907055" y="1513149"/>
                  <a:pt x="1415965" y="1513149"/>
                  <a:pt x="1113058" y="1210270"/>
                </a:cubicBezTo>
                <a:lnTo>
                  <a:pt x="177432" y="274645"/>
                </a:lnTo>
                <a:cubicBezTo>
                  <a:pt x="96837" y="194049"/>
                  <a:pt x="37683" y="100131"/>
                  <a:pt x="0" y="0"/>
                </a:cubicBezTo>
                <a:lnTo>
                  <a:pt x="3322992" y="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271" name="Google Shape;271;p23"/>
          <p:cNvGrpSpPr/>
          <p:nvPr/>
        </p:nvGrpSpPr>
        <p:grpSpPr>
          <a:xfrm>
            <a:off x="7809396" y="3638666"/>
            <a:ext cx="901968" cy="901968"/>
            <a:chOff x="1350404" y="-3124999"/>
            <a:chExt cx="1570279" cy="1570279"/>
          </a:xfrm>
        </p:grpSpPr>
        <p:sp>
          <p:nvSpPr>
            <p:cNvPr id="272" name="Google Shape;272;p23"/>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3" name="Google Shape;273;p23"/>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4" name="Google Shape;274;p23"/>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5" name="Google Shape;275;p23"/>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276" name="Google Shape;276;p23"/>
          <p:cNvSpPr/>
          <p:nvPr/>
        </p:nvSpPr>
        <p:spPr>
          <a:xfrm rot="-2700000">
            <a:off x="242648" y="432258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C81F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7" name="Google Shape;277;p23"/>
          <p:cNvSpPr/>
          <p:nvPr/>
        </p:nvSpPr>
        <p:spPr>
          <a:xfrm rot="-2700000">
            <a:off x="5260819" y="4841036"/>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8" name="Google Shape;278;p23"/>
          <p:cNvSpPr/>
          <p:nvPr/>
        </p:nvSpPr>
        <p:spPr>
          <a:xfrm>
            <a:off x="251447" y="810755"/>
            <a:ext cx="119689" cy="119689"/>
          </a:xfrm>
          <a:custGeom>
            <a:avLst/>
            <a:gdLst/>
            <a:ahLst/>
            <a:cxnLst/>
            <a:rect l="l" t="t" r="r" b="b"/>
            <a:pathLst>
              <a:path w="194616" h="194616" extrusionOk="0">
                <a:moveTo>
                  <a:pt x="194616" y="97308"/>
                </a:moveTo>
                <a:cubicBezTo>
                  <a:pt x="194616" y="151050"/>
                  <a:pt x="151050" y="194616"/>
                  <a:pt x="97307" y="194616"/>
                </a:cubicBezTo>
                <a:cubicBezTo>
                  <a:pt x="43566" y="194616"/>
                  <a:pt x="-1" y="151050"/>
                  <a:pt x="-1" y="97308"/>
                </a:cubicBezTo>
                <a:cubicBezTo>
                  <a:pt x="-1" y="43566"/>
                  <a:pt x="43565" y="0"/>
                  <a:pt x="97307" y="0"/>
                </a:cubicBezTo>
                <a:cubicBezTo>
                  <a:pt x="151049" y="0"/>
                  <a:pt x="194616" y="43566"/>
                  <a:pt x="194616" y="9730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79" name="Google Shape;279;p23"/>
          <p:cNvSpPr/>
          <p:nvPr/>
        </p:nvSpPr>
        <p:spPr>
          <a:xfrm rot="-2700000">
            <a:off x="8687852" y="2562279"/>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FA9D0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80" name="Google Shape;280;p23"/>
          <p:cNvSpPr/>
          <p:nvPr/>
        </p:nvSpPr>
        <p:spPr>
          <a:xfrm rot="-2700000">
            <a:off x="4121110" y="102372"/>
            <a:ext cx="137292" cy="137292"/>
          </a:xfrm>
          <a:custGeom>
            <a:avLst/>
            <a:gdLst/>
            <a:ahLst/>
            <a:cxnLst/>
            <a:rect l="l" t="t" r="r" b="b"/>
            <a:pathLst>
              <a:path w="171066" h="171066" extrusionOk="0">
                <a:moveTo>
                  <a:pt x="0" y="0"/>
                </a:moveTo>
                <a:lnTo>
                  <a:pt x="171066" y="0"/>
                </a:lnTo>
                <a:lnTo>
                  <a:pt x="171066" y="171066"/>
                </a:lnTo>
                <a:lnTo>
                  <a:pt x="0" y="171066"/>
                </a:lnTo>
                <a:close/>
              </a:path>
            </a:pathLst>
          </a:custGeom>
          <a:solidFill>
            <a:srgbClr val="7CE1C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B66F26B-FACD-C947-F7F1-55C453E0ABE8}"/>
              </a:ext>
            </a:extLst>
          </p:cNvPr>
          <p:cNvGraphicFramePr>
            <a:graphicFrameLocks noChangeAspect="1"/>
          </p:cNvGraphicFramePr>
          <p:nvPr userDrawn="1">
            <p:custDataLst>
              <p:tags r:id="rId14"/>
            </p:custDataLst>
            <p:extLst>
              <p:ext uri="{D42A27DB-BD31-4B8C-83A1-F6EECF244321}">
                <p14:modId xmlns:p14="http://schemas.microsoft.com/office/powerpoint/2010/main" val="381099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6" progId="TCLayout.ActiveDocument.1">
                  <p:embed/>
                </p:oleObj>
              </mc:Choice>
              <mc:Fallback>
                <p:oleObj name="think-cell Slide" r:id="rId15" imgW="425" imgH="42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13225" y="445025"/>
            <a:ext cx="77175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3000"/>
              <a:buFont typeface="Passion One"/>
              <a:buNone/>
              <a:defRPr sz="3000">
                <a:solidFill>
                  <a:schemeClr val="dk1"/>
                </a:solidFill>
                <a:latin typeface="Passion One"/>
                <a:ea typeface="Passion One"/>
                <a:cs typeface="Passion One"/>
                <a:sym typeface="Passion One"/>
              </a:defRPr>
            </a:lvl1pPr>
            <a:lvl2pPr lvl="1"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2pPr>
            <a:lvl3pPr lvl="2"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3pPr>
            <a:lvl4pPr lvl="3"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4pPr>
            <a:lvl5pPr lvl="4"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5pPr>
            <a:lvl6pPr lvl="5"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6pPr>
            <a:lvl7pPr lvl="6"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7pPr>
            <a:lvl8pPr lvl="7"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8pPr>
            <a:lvl9pPr lvl="8" rtl="0">
              <a:spcBef>
                <a:spcPts val="0"/>
              </a:spcBef>
              <a:spcAft>
                <a:spcPts val="0"/>
              </a:spcAft>
              <a:buClr>
                <a:schemeClr val="dk1"/>
              </a:buClr>
              <a:buSzPts val="3500"/>
              <a:buFont typeface="Passion One"/>
              <a:buNone/>
              <a:defRPr sz="3500">
                <a:solidFill>
                  <a:schemeClr val="dk1"/>
                </a:solidFill>
                <a:latin typeface="Passion One"/>
                <a:ea typeface="Passion One"/>
                <a:cs typeface="Passion One"/>
                <a:sym typeface="Passion One"/>
              </a:defRPr>
            </a:lvl9pPr>
          </a:lstStyle>
          <a:p>
            <a:endParaRPr/>
          </a:p>
        </p:txBody>
      </p:sp>
      <p:sp>
        <p:nvSpPr>
          <p:cNvPr id="7" name="Google Shape;7;p1"/>
          <p:cNvSpPr txBox="1">
            <a:spLocks noGrp="1"/>
          </p:cNvSpPr>
          <p:nvPr>
            <p:ph type="body" idx="1"/>
          </p:nvPr>
        </p:nvSpPr>
        <p:spPr>
          <a:xfrm>
            <a:off x="713225" y="1152475"/>
            <a:ext cx="7717500" cy="3416400"/>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1pPr>
            <a:lvl2pPr marL="914400" lvl="1"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2pPr>
            <a:lvl3pPr marL="1371600" lvl="2"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3pPr>
            <a:lvl4pPr marL="1828800" lvl="3"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4pPr>
            <a:lvl5pPr marL="2286000" lvl="4"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5pPr>
            <a:lvl6pPr marL="2743200" lvl="5"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6pPr>
            <a:lvl7pPr marL="3200400" lvl="6"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7pPr>
            <a:lvl8pPr marL="3657600" lvl="7"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8pPr>
            <a:lvl9pPr marL="4114800" lvl="8" indent="-317500">
              <a:lnSpc>
                <a:spcPct val="115000"/>
              </a:lnSpc>
              <a:spcBef>
                <a:spcPts val="0"/>
              </a:spcBef>
              <a:spcAft>
                <a:spcPts val="0"/>
              </a:spcAft>
              <a:buClr>
                <a:schemeClr val="dk1"/>
              </a:buClr>
              <a:buSzPts val="1400"/>
              <a:buFont typeface="Inter"/>
              <a:buChar char="■"/>
              <a:defRPr>
                <a:solidFill>
                  <a:schemeClr val="dk1"/>
                </a:solidFill>
                <a:latin typeface="Inter"/>
                <a:ea typeface="Inter"/>
                <a:cs typeface="Inter"/>
                <a:sym typeface="Inter"/>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7" r:id="rId4"/>
    <p:sldLayoutId id="2147483658" r:id="rId5"/>
    <p:sldLayoutId id="2147483660" r:id="rId6"/>
    <p:sldLayoutId id="2147483665" r:id="rId7"/>
    <p:sldLayoutId id="2147483668" r:id="rId8"/>
    <p:sldLayoutId id="2147483669" r:id="rId9"/>
    <p:sldLayoutId id="2147483672" r:id="rId10"/>
    <p:sldLayoutId id="2147483673" r:id="rId11"/>
    <p:sldLayoutId id="2147483677"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0">
          <p15:clr>
            <a:srgbClr val="EA4335"/>
          </p15:clr>
        </p15:guide>
        <p15:guide id="2" orient="horz" pos="2900">
          <p15:clr>
            <a:srgbClr val="EA4335"/>
          </p15:clr>
        </p15:guide>
        <p15:guide id="3" pos="449">
          <p15:clr>
            <a:srgbClr val="EA4335"/>
          </p15:clr>
        </p15:guide>
        <p15:guide id="4" pos="5311">
          <p15:clr>
            <a:srgbClr val="EA4335"/>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1.xml"/><Relationship Id="rId7"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2.xml"/><Relationship Id="rId7"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8.jfif"/><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9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C9F2B4-A428-C03D-8AEB-A1639A1D405B}"/>
              </a:ext>
            </a:extLst>
          </p:cNvPr>
          <p:cNvGraphicFramePr>
            <a:graphicFrameLocks noChangeAspect="1"/>
          </p:cNvGraphicFramePr>
          <p:nvPr>
            <p:custDataLst>
              <p:tags r:id="rId1"/>
            </p:custDataLst>
            <p:extLst>
              <p:ext uri="{D42A27DB-BD31-4B8C-83A1-F6EECF244321}">
                <p14:modId xmlns:p14="http://schemas.microsoft.com/office/powerpoint/2010/main" val="2412065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4" name="Google Shape;394;p31"/>
          <p:cNvSpPr txBox="1">
            <a:spLocks noGrp="1"/>
          </p:cNvSpPr>
          <p:nvPr>
            <p:ph type="ctrTitle"/>
          </p:nvPr>
        </p:nvSpPr>
        <p:spPr>
          <a:xfrm>
            <a:off x="1591686" y="2151786"/>
            <a:ext cx="5514300" cy="1795183"/>
          </a:xfrm>
          <a:prstGeom prst="rect">
            <a:avLst/>
          </a:prstGeom>
        </p:spPr>
        <p:txBody>
          <a:bodyPr spcFirstLastPara="1" wrap="square" lIns="91425" tIns="91425" rIns="91425" bIns="91425" anchor="ctr" anchorCtr="0">
            <a:noAutofit/>
          </a:bodyPr>
          <a:lstStyle/>
          <a:p>
            <a:pPr marL="457200" marR="0" lvl="1" rtl="0">
              <a:lnSpc>
                <a:spcPct val="150000"/>
              </a:lnSpc>
              <a:spcBef>
                <a:spcPts val="165"/>
              </a:spcBef>
              <a:spcAft>
                <a:spcPts val="0"/>
              </a:spcAft>
              <a:buSzPts val="1000"/>
              <a:tabLst>
                <a:tab pos="520700" algn="l"/>
                <a:tab pos="521335" algn="l"/>
              </a:tabLst>
            </a:pPr>
            <a:r>
              <a:rPr lang="en-US" sz="1800" b="1" dirty="0">
                <a:solidFill>
                  <a:schemeClr val="tx1">
                    <a:lumMod val="50000"/>
                  </a:schemeClr>
                </a:solidFill>
                <a:effectLst/>
                <a:latin typeface="Times New Roman" panose="02020603050405020304" pitchFamily="18" charset="0"/>
                <a:ea typeface="Aptos" panose="020B0004020202020204" pitchFamily="34" charset="0"/>
                <a:cs typeface="Times New Roman" panose="02020603050405020304" pitchFamily="18" charset="0"/>
              </a:rPr>
              <a:t>Data Analysis on Boston Crime Record</a:t>
            </a:r>
            <a:br>
              <a:rPr lang="en-US" sz="1100" dirty="0">
                <a:effectLst/>
                <a:latin typeface="Times New Roman" panose="02020603050405020304" pitchFamily="18" charset="0"/>
                <a:ea typeface="Symbol" panose="05050102010706020507" pitchFamily="18" charset="2"/>
                <a:cs typeface="Times New Roman" panose="02020603050405020304" pitchFamily="18" charset="0"/>
              </a:rPr>
            </a:br>
            <a:r>
              <a:rPr lang="en-US" sz="1400" b="1" spc="-15" dirty="0">
                <a:latin typeface="Times New Roman" panose="02020603050405020304" pitchFamily="18" charset="0"/>
                <a:ea typeface="Symbol" panose="05050102010706020507" pitchFamily="18" charset="2"/>
                <a:cs typeface="Times New Roman" panose="02020603050405020304" pitchFamily="18" charset="0"/>
              </a:rPr>
              <a:t>Prepared By</a:t>
            </a:r>
            <a:br>
              <a:rPr lang="en-US" sz="1100" b="1" kern="0" dirty="0">
                <a:effectLst/>
                <a:latin typeface="Times New Roman" panose="02020603050405020304" pitchFamily="18" charset="0"/>
                <a:ea typeface="Symbol" panose="05050102010706020507" pitchFamily="18" charset="2"/>
                <a:cs typeface="Times New Roman" panose="02020603050405020304" pitchFamily="18" charset="0"/>
              </a:rPr>
            </a:br>
            <a:r>
              <a:rPr lang="en-US" sz="1400" b="0" kern="0" dirty="0">
                <a:effectLst/>
                <a:latin typeface="Times New Roman" panose="02020603050405020304" pitchFamily="18" charset="0"/>
                <a:ea typeface="Trebuchet MS" panose="020B0603020202020204" pitchFamily="34" charset="0"/>
                <a:cs typeface="Times New Roman" panose="02020603050405020304" pitchFamily="18" charset="0"/>
              </a:rPr>
              <a:t>Mariem Ahmed </a:t>
            </a:r>
            <a:r>
              <a:rPr lang="en-US" sz="1400" b="0" kern="0" dirty="0" err="1">
                <a:effectLst/>
                <a:latin typeface="Times New Roman" panose="02020603050405020304" pitchFamily="18" charset="0"/>
                <a:ea typeface="Trebuchet MS" panose="020B0603020202020204" pitchFamily="34" charset="0"/>
                <a:cs typeface="Times New Roman" panose="02020603050405020304" pitchFamily="18" charset="0"/>
              </a:rPr>
              <a:t>Elhoseny</a:t>
            </a:r>
            <a:br>
              <a:rPr lang="en-US" sz="1400" b="1" kern="0" dirty="0">
                <a:effectLst/>
                <a:latin typeface="Times New Roman" panose="02020603050405020304" pitchFamily="18" charset="0"/>
                <a:ea typeface="Trebuchet MS" panose="020B0603020202020204" pitchFamily="34" charset="0"/>
                <a:cs typeface="Times New Roman" panose="02020603050405020304" pitchFamily="18" charset="0"/>
              </a:rPr>
            </a:br>
            <a:r>
              <a:rPr lang="en-US" sz="1400" b="0" kern="0" dirty="0">
                <a:effectLst/>
                <a:latin typeface="Times New Roman" panose="02020603050405020304" pitchFamily="18" charset="0"/>
                <a:ea typeface="Trebuchet MS" panose="020B0603020202020204" pitchFamily="34" charset="0"/>
                <a:cs typeface="Times New Roman" panose="02020603050405020304" pitchFamily="18" charset="0"/>
              </a:rPr>
              <a:t>Mariem Hossam Mahmoud</a:t>
            </a:r>
            <a:br>
              <a:rPr lang="en-US" sz="1400" b="1" kern="0" dirty="0">
                <a:effectLst/>
                <a:latin typeface="Times New Roman" panose="02020603050405020304" pitchFamily="18" charset="0"/>
                <a:ea typeface="Trebuchet MS" panose="020B0603020202020204" pitchFamily="34" charset="0"/>
                <a:cs typeface="Times New Roman" panose="02020603050405020304" pitchFamily="18" charset="0"/>
              </a:rPr>
            </a:br>
            <a:r>
              <a:rPr lang="en-US" sz="1400" b="0" kern="0" dirty="0">
                <a:effectLst/>
                <a:latin typeface="Times New Roman" panose="02020603050405020304" pitchFamily="18" charset="0"/>
                <a:ea typeface="Trebuchet MS" panose="020B0603020202020204" pitchFamily="34" charset="0"/>
                <a:cs typeface="Times New Roman" panose="02020603050405020304" pitchFamily="18" charset="0"/>
              </a:rPr>
              <a:t>Omar Mohamed </a:t>
            </a:r>
            <a:r>
              <a:rPr lang="en-US" sz="1400" b="0" kern="0" dirty="0" err="1">
                <a:effectLst/>
                <a:latin typeface="Times New Roman" panose="02020603050405020304" pitchFamily="18" charset="0"/>
                <a:ea typeface="Trebuchet MS" panose="020B0603020202020204" pitchFamily="34" charset="0"/>
                <a:cs typeface="Times New Roman" panose="02020603050405020304" pitchFamily="18" charset="0"/>
              </a:rPr>
              <a:t>Elemary</a:t>
            </a:r>
            <a:br>
              <a:rPr lang="en-US" sz="1400" b="1" kern="0" dirty="0">
                <a:effectLst/>
                <a:latin typeface="Times New Roman" panose="02020603050405020304" pitchFamily="18" charset="0"/>
                <a:ea typeface="Trebuchet MS" panose="020B0603020202020204" pitchFamily="34" charset="0"/>
                <a:cs typeface="Times New Roman" panose="02020603050405020304" pitchFamily="18" charset="0"/>
              </a:rPr>
            </a:br>
            <a:r>
              <a:rPr lang="en-US" sz="1400" b="0" kern="0" dirty="0">
                <a:effectLst/>
                <a:latin typeface="Times New Roman" panose="02020603050405020304" pitchFamily="18" charset="0"/>
                <a:ea typeface="Trebuchet MS" panose="020B0603020202020204" pitchFamily="34" charset="0"/>
                <a:cs typeface="Times New Roman" panose="02020603050405020304" pitchFamily="18" charset="0"/>
              </a:rPr>
              <a:t>Rokaya Mahmoud Shama</a:t>
            </a:r>
            <a:br>
              <a:rPr lang="en-US" sz="1400" b="1" kern="0" dirty="0">
                <a:effectLst/>
                <a:latin typeface="Times New Roman" panose="02020603050405020304" pitchFamily="18" charset="0"/>
                <a:ea typeface="Trebuchet MS" panose="020B0603020202020204" pitchFamily="34" charset="0"/>
                <a:cs typeface="Times New Roman" panose="02020603050405020304" pitchFamily="18" charset="0"/>
              </a:rPr>
            </a:br>
            <a:r>
              <a:rPr lang="en-US" sz="1400" b="0" kern="0" dirty="0">
                <a:effectLst/>
                <a:latin typeface="Times New Roman" panose="02020603050405020304" pitchFamily="18" charset="0"/>
                <a:ea typeface="Trebuchet MS" panose="020B0603020202020204" pitchFamily="34" charset="0"/>
                <a:cs typeface="Times New Roman" panose="02020603050405020304" pitchFamily="18" charset="0"/>
              </a:rPr>
              <a:t>Weaam Ahmed Abdelmoniem</a:t>
            </a:r>
            <a:br>
              <a:rPr lang="en-US" sz="1400" b="1" kern="0" dirty="0">
                <a:effectLst/>
                <a:latin typeface="Times New Roman" panose="02020603050405020304" pitchFamily="18" charset="0"/>
                <a:ea typeface="Trebuchet MS" panose="020B0603020202020204" pitchFamily="34" charset="0"/>
                <a:cs typeface="Times New Roman" panose="02020603050405020304" pitchFamily="18" charset="0"/>
              </a:rPr>
            </a:br>
            <a:endParaRPr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395" name="Google Shape;395;p31"/>
          <p:cNvSpPr txBox="1">
            <a:spLocks noGrp="1"/>
          </p:cNvSpPr>
          <p:nvPr>
            <p:ph type="subTitle" idx="1"/>
          </p:nvPr>
        </p:nvSpPr>
        <p:spPr>
          <a:xfrm>
            <a:off x="2940354" y="3812077"/>
            <a:ext cx="3491622" cy="981295"/>
          </a:xfrm>
          <a:prstGeom prst="rect">
            <a:avLst/>
          </a:prstGeom>
        </p:spPr>
        <p:txBody>
          <a:bodyPr spcFirstLastPara="1" wrap="square" lIns="91425" tIns="91425" rIns="91425" bIns="91425" anchor="ctr" anchorCtr="0">
            <a:noAutofit/>
          </a:bodyPr>
          <a:lstStyle/>
          <a:p>
            <a:pPr marL="457200" lvl="1" indent="0">
              <a:lnSpc>
                <a:spcPct val="150000"/>
              </a:lnSpc>
              <a:spcBef>
                <a:spcPts val="165"/>
              </a:spcBef>
              <a:buClr>
                <a:srgbClr val="191919"/>
              </a:buClr>
              <a:buSzPts val="1000"/>
              <a:tabLst>
                <a:tab pos="520700" algn="l"/>
                <a:tab pos="521335" algn="l"/>
              </a:tabLst>
            </a:pPr>
            <a:r>
              <a:rPr lang="en" dirty="0">
                <a:solidFill>
                  <a:schemeClr val="tx1">
                    <a:lumMod val="50000"/>
                  </a:schemeClr>
                </a:solidFill>
                <a:latin typeface="Times New Roman" panose="02020603050405020304" pitchFamily="18" charset="0"/>
                <a:cs typeface="Times New Roman" panose="02020603050405020304" pitchFamily="18" charset="0"/>
                <a:sym typeface="Passion One"/>
              </a:rPr>
              <a:t>Supervision of </a:t>
            </a:r>
          </a:p>
          <a:p>
            <a:pPr marL="457200" lvl="1" indent="0">
              <a:lnSpc>
                <a:spcPct val="150000"/>
              </a:lnSpc>
              <a:spcBef>
                <a:spcPts val="165"/>
              </a:spcBef>
              <a:buClr>
                <a:srgbClr val="191919"/>
              </a:buClr>
              <a:buSzPts val="1000"/>
              <a:tabLst>
                <a:tab pos="520700" algn="l"/>
                <a:tab pos="521335" algn="l"/>
              </a:tabLst>
            </a:pPr>
            <a:r>
              <a:rPr lang="en-US" b="1" dirty="0">
                <a:solidFill>
                  <a:schemeClr val="tx1">
                    <a:lumMod val="50000"/>
                  </a:schemeClr>
                </a:solidFill>
                <a:latin typeface="Times New Roman" panose="02020603050405020304" pitchFamily="18" charset="0"/>
                <a:cs typeface="Times New Roman" panose="02020603050405020304" pitchFamily="18" charset="0"/>
                <a:sym typeface="Passion One"/>
              </a:rPr>
              <a:t>Abdallah Kamal</a:t>
            </a:r>
          </a:p>
        </p:txBody>
      </p:sp>
      <p:grpSp>
        <p:nvGrpSpPr>
          <p:cNvPr id="396" name="Google Shape;396;p31"/>
          <p:cNvGrpSpPr/>
          <p:nvPr/>
        </p:nvGrpSpPr>
        <p:grpSpPr>
          <a:xfrm>
            <a:off x="7916010" y="4003812"/>
            <a:ext cx="1098804" cy="732535"/>
            <a:chOff x="8118467" y="4032000"/>
            <a:chExt cx="1098804" cy="732535"/>
          </a:xfrm>
        </p:grpSpPr>
        <p:sp>
          <p:nvSpPr>
            <p:cNvPr id="397" name="Google Shape;397;p31"/>
            <p:cNvSpPr/>
            <p:nvPr/>
          </p:nvSpPr>
          <p:spPr>
            <a:xfrm>
              <a:off x="8118467" y="4032000"/>
              <a:ext cx="183134" cy="183133"/>
            </a:xfrm>
            <a:custGeom>
              <a:avLst/>
              <a:gdLst/>
              <a:ahLst/>
              <a:cxnLst/>
              <a:rect l="l" t="t" r="r" b="b"/>
              <a:pathLst>
                <a:path w="254247" h="254246" extrusionOk="0">
                  <a:moveTo>
                    <a:pt x="254248" y="254247"/>
                  </a:moveTo>
                  <a:lnTo>
                    <a:pt x="0" y="254247"/>
                  </a:lnTo>
                  <a:lnTo>
                    <a:pt x="0" y="106044"/>
                  </a:lnTo>
                  <a:cubicBezTo>
                    <a:pt x="0" y="47477"/>
                    <a:pt x="47477" y="0"/>
                    <a:pt x="106044" y="0"/>
                  </a:cubicBezTo>
                  <a:lnTo>
                    <a:pt x="254248" y="0"/>
                  </a:lnTo>
                  <a:lnTo>
                    <a:pt x="254248"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398" name="Google Shape;398;p31"/>
            <p:cNvSpPr/>
            <p:nvPr/>
          </p:nvSpPr>
          <p:spPr>
            <a:xfrm>
              <a:off x="8118467" y="4215134"/>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399" name="Google Shape;399;p31"/>
            <p:cNvSpPr/>
            <p:nvPr/>
          </p:nvSpPr>
          <p:spPr>
            <a:xfrm>
              <a:off x="8118467" y="4398268"/>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0" name="Google Shape;400;p31"/>
            <p:cNvSpPr/>
            <p:nvPr/>
          </p:nvSpPr>
          <p:spPr>
            <a:xfrm>
              <a:off x="8118467" y="4581402"/>
              <a:ext cx="183134" cy="183079"/>
            </a:xfrm>
            <a:custGeom>
              <a:avLst/>
              <a:gdLst/>
              <a:ahLst/>
              <a:cxnLst/>
              <a:rect l="l" t="t" r="r" b="b"/>
              <a:pathLst>
                <a:path w="254247" h="254170" extrusionOk="0">
                  <a:moveTo>
                    <a:pt x="254248" y="254171"/>
                  </a:moveTo>
                  <a:lnTo>
                    <a:pt x="106044" y="254171"/>
                  </a:lnTo>
                  <a:cubicBezTo>
                    <a:pt x="47477" y="254171"/>
                    <a:pt x="0" y="206694"/>
                    <a:pt x="0" y="148127"/>
                  </a:cubicBezTo>
                  <a:lnTo>
                    <a:pt x="0" y="0"/>
                  </a:lnTo>
                  <a:lnTo>
                    <a:pt x="254248" y="0"/>
                  </a:lnTo>
                  <a:lnTo>
                    <a:pt x="254248" y="254171"/>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1" name="Google Shape;401;p31"/>
            <p:cNvSpPr/>
            <p:nvPr/>
          </p:nvSpPr>
          <p:spPr>
            <a:xfrm>
              <a:off x="8301601" y="4032000"/>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2" name="Google Shape;402;p31"/>
            <p:cNvSpPr/>
            <p:nvPr/>
          </p:nvSpPr>
          <p:spPr>
            <a:xfrm>
              <a:off x="8301601" y="4215134"/>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3" name="Google Shape;403;p31"/>
            <p:cNvSpPr/>
            <p:nvPr/>
          </p:nvSpPr>
          <p:spPr>
            <a:xfrm>
              <a:off x="8301601" y="4398268"/>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4" name="Google Shape;404;p31"/>
            <p:cNvSpPr/>
            <p:nvPr/>
          </p:nvSpPr>
          <p:spPr>
            <a:xfrm>
              <a:off x="8301601" y="4581402"/>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5" name="Google Shape;405;p31"/>
            <p:cNvSpPr/>
            <p:nvPr/>
          </p:nvSpPr>
          <p:spPr>
            <a:xfrm>
              <a:off x="8484735" y="4032000"/>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6" name="Google Shape;406;p31"/>
            <p:cNvSpPr/>
            <p:nvPr/>
          </p:nvSpPr>
          <p:spPr>
            <a:xfrm>
              <a:off x="8484735" y="4215134"/>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7" name="Google Shape;407;p31"/>
            <p:cNvSpPr/>
            <p:nvPr/>
          </p:nvSpPr>
          <p:spPr>
            <a:xfrm>
              <a:off x="8484735" y="4398268"/>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8" name="Google Shape;408;p31"/>
            <p:cNvSpPr/>
            <p:nvPr/>
          </p:nvSpPr>
          <p:spPr>
            <a:xfrm>
              <a:off x="8484735" y="4581402"/>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09" name="Google Shape;409;p31"/>
            <p:cNvSpPr/>
            <p:nvPr/>
          </p:nvSpPr>
          <p:spPr>
            <a:xfrm>
              <a:off x="8667869" y="4032000"/>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0" name="Google Shape;410;p31"/>
            <p:cNvSpPr/>
            <p:nvPr/>
          </p:nvSpPr>
          <p:spPr>
            <a:xfrm>
              <a:off x="8667869" y="4215134"/>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1" name="Google Shape;411;p31"/>
            <p:cNvSpPr/>
            <p:nvPr/>
          </p:nvSpPr>
          <p:spPr>
            <a:xfrm>
              <a:off x="8667869" y="4398268"/>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2" name="Google Shape;412;p31"/>
            <p:cNvSpPr/>
            <p:nvPr/>
          </p:nvSpPr>
          <p:spPr>
            <a:xfrm>
              <a:off x="8667869" y="4581402"/>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3" name="Google Shape;413;p31"/>
            <p:cNvSpPr/>
            <p:nvPr/>
          </p:nvSpPr>
          <p:spPr>
            <a:xfrm>
              <a:off x="8851003" y="4032000"/>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4" name="Google Shape;414;p31"/>
            <p:cNvSpPr/>
            <p:nvPr/>
          </p:nvSpPr>
          <p:spPr>
            <a:xfrm>
              <a:off x="8851003" y="4215134"/>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5" name="Google Shape;415;p31"/>
            <p:cNvSpPr/>
            <p:nvPr/>
          </p:nvSpPr>
          <p:spPr>
            <a:xfrm>
              <a:off x="8851003" y="4398268"/>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6" name="Google Shape;416;p31"/>
            <p:cNvSpPr/>
            <p:nvPr/>
          </p:nvSpPr>
          <p:spPr>
            <a:xfrm>
              <a:off x="8851003" y="4581402"/>
              <a:ext cx="183133" cy="183133"/>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7" name="Google Shape;417;p31"/>
            <p:cNvSpPr/>
            <p:nvPr/>
          </p:nvSpPr>
          <p:spPr>
            <a:xfrm>
              <a:off x="9034137" y="4032000"/>
              <a:ext cx="183133" cy="183133"/>
            </a:xfrm>
            <a:custGeom>
              <a:avLst/>
              <a:gdLst/>
              <a:ahLst/>
              <a:cxnLst/>
              <a:rect l="l" t="t" r="r" b="b"/>
              <a:pathLst>
                <a:path w="254246" h="254246" extrusionOk="0">
                  <a:moveTo>
                    <a:pt x="254247" y="254247"/>
                  </a:moveTo>
                  <a:lnTo>
                    <a:pt x="0" y="254247"/>
                  </a:lnTo>
                  <a:lnTo>
                    <a:pt x="0" y="0"/>
                  </a:lnTo>
                  <a:lnTo>
                    <a:pt x="148203" y="0"/>
                  </a:lnTo>
                  <a:cubicBezTo>
                    <a:pt x="206770" y="0"/>
                    <a:pt x="254247" y="47477"/>
                    <a:pt x="254247" y="106044"/>
                  </a:cubicBezTo>
                  <a:lnTo>
                    <a:pt x="254247"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8" name="Google Shape;418;p31"/>
            <p:cNvSpPr/>
            <p:nvPr/>
          </p:nvSpPr>
          <p:spPr>
            <a:xfrm>
              <a:off x="9034137" y="4215134"/>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19" name="Google Shape;419;p31"/>
            <p:cNvSpPr/>
            <p:nvPr/>
          </p:nvSpPr>
          <p:spPr>
            <a:xfrm>
              <a:off x="9034137" y="4398268"/>
              <a:ext cx="183133" cy="183133"/>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0" name="Google Shape;420;p31"/>
            <p:cNvSpPr/>
            <p:nvPr/>
          </p:nvSpPr>
          <p:spPr>
            <a:xfrm>
              <a:off x="9034082" y="4581402"/>
              <a:ext cx="183133" cy="183079"/>
            </a:xfrm>
            <a:custGeom>
              <a:avLst/>
              <a:gdLst/>
              <a:ahLst/>
              <a:cxnLst/>
              <a:rect l="l" t="t" r="r" b="b"/>
              <a:pathLst>
                <a:path w="254246" h="254170" extrusionOk="0">
                  <a:moveTo>
                    <a:pt x="148203" y="254171"/>
                  </a:moveTo>
                  <a:lnTo>
                    <a:pt x="0" y="254171"/>
                  </a:lnTo>
                  <a:lnTo>
                    <a:pt x="0" y="0"/>
                  </a:lnTo>
                  <a:lnTo>
                    <a:pt x="254247" y="0"/>
                  </a:lnTo>
                  <a:lnTo>
                    <a:pt x="254247" y="148203"/>
                  </a:lnTo>
                  <a:cubicBezTo>
                    <a:pt x="254323" y="206694"/>
                    <a:pt x="206770" y="254171"/>
                    <a:pt x="148203" y="25417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1" name="Google Shape;421;p31"/>
            <p:cNvSpPr/>
            <p:nvPr/>
          </p:nvSpPr>
          <p:spPr>
            <a:xfrm>
              <a:off x="8273696" y="4184110"/>
              <a:ext cx="55810" cy="55810"/>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76"/>
                    <a:pt x="77482" y="1739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2" name="Google Shape;422;p31"/>
            <p:cNvSpPr/>
            <p:nvPr/>
          </p:nvSpPr>
          <p:spPr>
            <a:xfrm>
              <a:off x="8368300" y="4275103"/>
              <a:ext cx="55810" cy="55810"/>
            </a:xfrm>
            <a:custGeom>
              <a:avLst/>
              <a:gdLst/>
              <a:ahLst/>
              <a:cxnLst/>
              <a:rect l="l" t="t" r="r" b="b"/>
              <a:pathLst>
                <a:path w="77481" h="77481" extrusionOk="0">
                  <a:moveTo>
                    <a:pt x="77482" y="38741"/>
                  </a:moveTo>
                  <a:cubicBezTo>
                    <a:pt x="77482" y="60137"/>
                    <a:pt x="60138" y="77482"/>
                    <a:pt x="38741" y="77482"/>
                  </a:cubicBezTo>
                  <a:cubicBezTo>
                    <a:pt x="17345" y="77482"/>
                    <a:pt x="1" y="60137"/>
                    <a:pt x="1" y="38741"/>
                  </a:cubicBezTo>
                  <a:cubicBezTo>
                    <a:pt x="1" y="17345"/>
                    <a:pt x="17345" y="0"/>
                    <a:pt x="38741" y="0"/>
                  </a:cubicBezTo>
                  <a:cubicBezTo>
                    <a:pt x="60138" y="0"/>
                    <a:pt x="77482" y="1734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3" name="Google Shape;423;p31"/>
            <p:cNvSpPr/>
            <p:nvPr/>
          </p:nvSpPr>
          <p:spPr>
            <a:xfrm>
              <a:off x="8588258" y="4076429"/>
              <a:ext cx="55810" cy="55810"/>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0"/>
                    <a:pt x="77482" y="17395"/>
                    <a:pt x="77482" y="387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4" name="Google Shape;424;p31"/>
            <p:cNvSpPr/>
            <p:nvPr/>
          </p:nvSpPr>
          <p:spPr>
            <a:xfrm>
              <a:off x="8456830" y="4433997"/>
              <a:ext cx="55810" cy="55810"/>
            </a:xfrm>
            <a:custGeom>
              <a:avLst/>
              <a:gdLst/>
              <a:ahLst/>
              <a:cxnLst/>
              <a:rect l="l" t="t" r="r" b="b"/>
              <a:pathLst>
                <a:path w="77481" h="77481" extrusionOk="0">
                  <a:moveTo>
                    <a:pt x="77482" y="38741"/>
                  </a:moveTo>
                  <a:cubicBezTo>
                    <a:pt x="77482" y="60162"/>
                    <a:pt x="60162" y="77482"/>
                    <a:pt x="38741" y="77482"/>
                  </a:cubicBezTo>
                  <a:cubicBezTo>
                    <a:pt x="17320" y="77482"/>
                    <a:pt x="0" y="60162"/>
                    <a:pt x="0" y="38741"/>
                  </a:cubicBezTo>
                  <a:cubicBezTo>
                    <a:pt x="0" y="17319"/>
                    <a:pt x="17320" y="0"/>
                    <a:pt x="38741" y="0"/>
                  </a:cubicBezTo>
                  <a:cubicBezTo>
                    <a:pt x="60086" y="0"/>
                    <a:pt x="77482" y="17395"/>
                    <a:pt x="77482" y="3874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5" name="Google Shape;425;p31"/>
            <p:cNvSpPr/>
            <p:nvPr/>
          </p:nvSpPr>
          <p:spPr>
            <a:xfrm>
              <a:off x="8726908" y="4658168"/>
              <a:ext cx="55810" cy="55810"/>
            </a:xfrm>
            <a:custGeom>
              <a:avLst/>
              <a:gdLst/>
              <a:ahLst/>
              <a:cxnLst/>
              <a:rect l="l" t="t" r="r" b="b"/>
              <a:pathLst>
                <a:path w="77481" h="77481" extrusionOk="0">
                  <a:moveTo>
                    <a:pt x="77482" y="38741"/>
                  </a:moveTo>
                  <a:cubicBezTo>
                    <a:pt x="77482" y="60137"/>
                    <a:pt x="60137" y="77482"/>
                    <a:pt x="38741" y="77482"/>
                  </a:cubicBezTo>
                  <a:cubicBezTo>
                    <a:pt x="17345" y="77482"/>
                    <a:pt x="0" y="60137"/>
                    <a:pt x="0" y="38741"/>
                  </a:cubicBezTo>
                  <a:cubicBezTo>
                    <a:pt x="0" y="17345"/>
                    <a:pt x="17345" y="0"/>
                    <a:pt x="38741" y="0"/>
                  </a:cubicBezTo>
                  <a:cubicBezTo>
                    <a:pt x="60137" y="0"/>
                    <a:pt x="77482" y="17345"/>
                    <a:pt x="77482" y="38741"/>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6" name="Google Shape;426;p31"/>
            <p:cNvSpPr/>
            <p:nvPr/>
          </p:nvSpPr>
          <p:spPr>
            <a:xfrm>
              <a:off x="8518057" y="4370363"/>
              <a:ext cx="55810" cy="55810"/>
            </a:xfrm>
            <a:custGeom>
              <a:avLst/>
              <a:gdLst/>
              <a:ahLst/>
              <a:cxnLst/>
              <a:rect l="l" t="t" r="r" b="b"/>
              <a:pathLst>
                <a:path w="77481" h="77481" extrusionOk="0">
                  <a:moveTo>
                    <a:pt x="77482" y="38741"/>
                  </a:moveTo>
                  <a:cubicBezTo>
                    <a:pt x="77482" y="60137"/>
                    <a:pt x="60137" y="77482"/>
                    <a:pt x="38741" y="77482"/>
                  </a:cubicBezTo>
                  <a:cubicBezTo>
                    <a:pt x="17345" y="77482"/>
                    <a:pt x="1" y="60137"/>
                    <a:pt x="1" y="38741"/>
                  </a:cubicBezTo>
                  <a:cubicBezTo>
                    <a:pt x="1" y="17345"/>
                    <a:pt x="17345" y="0"/>
                    <a:pt x="38741" y="0"/>
                  </a:cubicBezTo>
                  <a:cubicBezTo>
                    <a:pt x="60137" y="0"/>
                    <a:pt x="77482" y="17345"/>
                    <a:pt x="77482" y="3874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7" name="Google Shape;427;p31"/>
            <p:cNvSpPr/>
            <p:nvPr/>
          </p:nvSpPr>
          <p:spPr>
            <a:xfrm>
              <a:off x="8170393" y="4076429"/>
              <a:ext cx="55810" cy="55810"/>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086" y="0"/>
                    <a:pt x="77482" y="17395"/>
                    <a:pt x="77482" y="38741"/>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8" name="Google Shape;428;p31"/>
            <p:cNvSpPr/>
            <p:nvPr/>
          </p:nvSpPr>
          <p:spPr>
            <a:xfrm>
              <a:off x="8456830" y="4293542"/>
              <a:ext cx="55810" cy="55810"/>
            </a:xfrm>
            <a:custGeom>
              <a:avLst/>
              <a:gdLst/>
              <a:ahLst/>
              <a:cxnLst/>
              <a:rect l="l" t="t" r="r" b="b"/>
              <a:pathLst>
                <a:path w="77481" h="77481" extrusionOk="0">
                  <a:moveTo>
                    <a:pt x="77482" y="38741"/>
                  </a:moveTo>
                  <a:cubicBezTo>
                    <a:pt x="77482" y="60162"/>
                    <a:pt x="60162" y="77482"/>
                    <a:pt x="38741" y="77482"/>
                  </a:cubicBezTo>
                  <a:cubicBezTo>
                    <a:pt x="17320" y="77482"/>
                    <a:pt x="0" y="60162"/>
                    <a:pt x="0" y="38741"/>
                  </a:cubicBezTo>
                  <a:cubicBezTo>
                    <a:pt x="0" y="17319"/>
                    <a:pt x="17320" y="0"/>
                    <a:pt x="38741" y="0"/>
                  </a:cubicBezTo>
                  <a:cubicBezTo>
                    <a:pt x="60086" y="0"/>
                    <a:pt x="77482" y="17319"/>
                    <a:pt x="77482" y="387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29" name="Google Shape;429;p31"/>
            <p:cNvSpPr/>
            <p:nvPr/>
          </p:nvSpPr>
          <p:spPr>
            <a:xfrm>
              <a:off x="8368300" y="4378844"/>
              <a:ext cx="55810" cy="55810"/>
            </a:xfrm>
            <a:custGeom>
              <a:avLst/>
              <a:gdLst/>
              <a:ahLst/>
              <a:cxnLst/>
              <a:rect l="l" t="t" r="r" b="b"/>
              <a:pathLst>
                <a:path w="77481" h="77481" extrusionOk="0">
                  <a:moveTo>
                    <a:pt x="77482" y="38741"/>
                  </a:moveTo>
                  <a:cubicBezTo>
                    <a:pt x="77482" y="60137"/>
                    <a:pt x="60138" y="77482"/>
                    <a:pt x="38741" y="77482"/>
                  </a:cubicBezTo>
                  <a:cubicBezTo>
                    <a:pt x="17345" y="77482"/>
                    <a:pt x="1" y="60137"/>
                    <a:pt x="1" y="38741"/>
                  </a:cubicBezTo>
                  <a:cubicBezTo>
                    <a:pt x="1" y="17345"/>
                    <a:pt x="17345" y="0"/>
                    <a:pt x="38741" y="0"/>
                  </a:cubicBezTo>
                  <a:cubicBezTo>
                    <a:pt x="60138" y="0"/>
                    <a:pt x="77482" y="17345"/>
                    <a:pt x="77482" y="387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0" name="Google Shape;430;p31"/>
            <p:cNvSpPr/>
            <p:nvPr/>
          </p:nvSpPr>
          <p:spPr>
            <a:xfrm>
              <a:off x="8202566" y="4461903"/>
              <a:ext cx="55810" cy="55810"/>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086" y="0"/>
                    <a:pt x="77482" y="1739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1" name="Google Shape;431;p31"/>
            <p:cNvSpPr/>
            <p:nvPr/>
          </p:nvSpPr>
          <p:spPr>
            <a:xfrm>
              <a:off x="8174660" y="4617132"/>
              <a:ext cx="55810" cy="55810"/>
            </a:xfrm>
            <a:custGeom>
              <a:avLst/>
              <a:gdLst/>
              <a:ahLst/>
              <a:cxnLst/>
              <a:rect l="l" t="t" r="r" b="b"/>
              <a:pathLst>
                <a:path w="77482" h="77481" extrusionOk="0">
                  <a:moveTo>
                    <a:pt x="77482" y="38741"/>
                  </a:moveTo>
                  <a:cubicBezTo>
                    <a:pt x="77482" y="60162"/>
                    <a:pt x="60163" y="77482"/>
                    <a:pt x="38742" y="77482"/>
                  </a:cubicBezTo>
                  <a:cubicBezTo>
                    <a:pt x="17320" y="77482"/>
                    <a:pt x="0" y="60162"/>
                    <a:pt x="0" y="38741"/>
                  </a:cubicBezTo>
                  <a:cubicBezTo>
                    <a:pt x="0" y="17320"/>
                    <a:pt x="17320" y="0"/>
                    <a:pt x="38742" y="0"/>
                  </a:cubicBezTo>
                  <a:cubicBezTo>
                    <a:pt x="60163" y="0"/>
                    <a:pt x="77482" y="17396"/>
                    <a:pt x="77482" y="387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2" name="Google Shape;432;p31"/>
            <p:cNvSpPr/>
            <p:nvPr/>
          </p:nvSpPr>
          <p:spPr>
            <a:xfrm>
              <a:off x="8273696" y="4321447"/>
              <a:ext cx="55810" cy="55810"/>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0"/>
                    <a:pt x="77482" y="17319"/>
                    <a:pt x="77482" y="3874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3" name="Google Shape;433;p31"/>
            <p:cNvSpPr/>
            <p:nvPr/>
          </p:nvSpPr>
          <p:spPr>
            <a:xfrm>
              <a:off x="8919671" y="4247252"/>
              <a:ext cx="55810" cy="55810"/>
            </a:xfrm>
            <a:custGeom>
              <a:avLst/>
              <a:gdLst/>
              <a:ahLst/>
              <a:cxnLst/>
              <a:rect l="l" t="t" r="r" b="b"/>
              <a:pathLst>
                <a:path w="77481" h="77481" extrusionOk="0">
                  <a:moveTo>
                    <a:pt x="77482" y="38741"/>
                  </a:moveTo>
                  <a:cubicBezTo>
                    <a:pt x="77482" y="60162"/>
                    <a:pt x="60163" y="77482"/>
                    <a:pt x="38741" y="77482"/>
                  </a:cubicBezTo>
                  <a:cubicBezTo>
                    <a:pt x="17320" y="77482"/>
                    <a:pt x="0" y="60162"/>
                    <a:pt x="0" y="38741"/>
                  </a:cubicBezTo>
                  <a:cubicBezTo>
                    <a:pt x="0" y="17319"/>
                    <a:pt x="17320" y="0"/>
                    <a:pt x="38741" y="0"/>
                  </a:cubicBezTo>
                  <a:cubicBezTo>
                    <a:pt x="60163" y="0"/>
                    <a:pt x="77482" y="17319"/>
                    <a:pt x="77482" y="3874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grpSp>
        <p:nvGrpSpPr>
          <p:cNvPr id="434" name="Google Shape;434;p31"/>
          <p:cNvGrpSpPr/>
          <p:nvPr/>
        </p:nvGrpSpPr>
        <p:grpSpPr>
          <a:xfrm>
            <a:off x="1062846" y="290916"/>
            <a:ext cx="901968" cy="901968"/>
            <a:chOff x="1350404" y="-3124999"/>
            <a:chExt cx="1570279" cy="1570279"/>
          </a:xfrm>
        </p:grpSpPr>
        <p:sp>
          <p:nvSpPr>
            <p:cNvPr id="435" name="Google Shape;435;p31"/>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6" name="Google Shape;436;p31"/>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7" name="Google Shape;437;p31"/>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38" name="Google Shape;438;p31"/>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grpSp>
        <p:nvGrpSpPr>
          <p:cNvPr id="440" name="Google Shape;440;p31"/>
          <p:cNvGrpSpPr/>
          <p:nvPr/>
        </p:nvGrpSpPr>
        <p:grpSpPr>
          <a:xfrm>
            <a:off x="4060641" y="362469"/>
            <a:ext cx="1022706" cy="830413"/>
            <a:chOff x="7329141" y="362469"/>
            <a:chExt cx="1022706" cy="830413"/>
          </a:xfrm>
        </p:grpSpPr>
        <p:sp>
          <p:nvSpPr>
            <p:cNvPr id="441" name="Google Shape;441;p31"/>
            <p:cNvSpPr/>
            <p:nvPr/>
          </p:nvSpPr>
          <p:spPr>
            <a:xfrm>
              <a:off x="7329141" y="362469"/>
              <a:ext cx="1022706" cy="830413"/>
            </a:xfrm>
            <a:custGeom>
              <a:avLst/>
              <a:gdLst/>
              <a:ahLst/>
              <a:cxnLst/>
              <a:rect l="l" t="t" r="r" b="b"/>
              <a:pathLst>
                <a:path w="1901648" h="1544092" extrusionOk="0">
                  <a:moveTo>
                    <a:pt x="1770840" y="1544092"/>
                  </a:moveTo>
                  <a:lnTo>
                    <a:pt x="130807" y="1544092"/>
                  </a:lnTo>
                  <a:cubicBezTo>
                    <a:pt x="58567" y="1544092"/>
                    <a:pt x="0" y="1485525"/>
                    <a:pt x="0" y="1413285"/>
                  </a:cubicBezTo>
                  <a:lnTo>
                    <a:pt x="0" y="130808"/>
                  </a:lnTo>
                  <a:cubicBezTo>
                    <a:pt x="0" y="58567"/>
                    <a:pt x="58567" y="0"/>
                    <a:pt x="130807" y="0"/>
                  </a:cubicBezTo>
                  <a:lnTo>
                    <a:pt x="1770840" y="0"/>
                  </a:lnTo>
                  <a:cubicBezTo>
                    <a:pt x="1843081" y="0"/>
                    <a:pt x="1901648" y="58567"/>
                    <a:pt x="1901648" y="130808"/>
                  </a:cubicBezTo>
                  <a:lnTo>
                    <a:pt x="1901648" y="1413285"/>
                  </a:lnTo>
                  <a:cubicBezTo>
                    <a:pt x="1901648" y="1485449"/>
                    <a:pt x="1843081" y="1544092"/>
                    <a:pt x="1770840" y="154409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42" name="Google Shape;442;p31"/>
            <p:cNvSpPr/>
            <p:nvPr/>
          </p:nvSpPr>
          <p:spPr>
            <a:xfrm>
              <a:off x="7479397" y="507863"/>
              <a:ext cx="275878" cy="490191"/>
            </a:xfrm>
            <a:custGeom>
              <a:avLst/>
              <a:gdLst/>
              <a:ahLst/>
              <a:cxnLst/>
              <a:rect l="l" t="t" r="r" b="b"/>
              <a:pathLst>
                <a:path w="512975" h="911475" extrusionOk="0">
                  <a:moveTo>
                    <a:pt x="512976" y="0"/>
                  </a:moveTo>
                  <a:cubicBezTo>
                    <a:pt x="229635" y="0"/>
                    <a:pt x="0" y="229635"/>
                    <a:pt x="0" y="512976"/>
                  </a:cubicBezTo>
                  <a:cubicBezTo>
                    <a:pt x="0" y="673864"/>
                    <a:pt x="74064" y="817434"/>
                    <a:pt x="189983" y="911476"/>
                  </a:cubicBezTo>
                  <a:lnTo>
                    <a:pt x="512976" y="512976"/>
                  </a:lnTo>
                  <a:lnTo>
                    <a:pt x="512976" y="0"/>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nvGrpSpPr>
            <p:cNvPr id="443" name="Google Shape;443;p31"/>
            <p:cNvGrpSpPr/>
            <p:nvPr/>
          </p:nvGrpSpPr>
          <p:grpSpPr>
            <a:xfrm>
              <a:off x="7581570" y="507863"/>
              <a:ext cx="449624" cy="551756"/>
              <a:chOff x="6727477" y="1096947"/>
              <a:chExt cx="836044" cy="1025951"/>
            </a:xfrm>
          </p:grpSpPr>
          <p:sp>
            <p:nvSpPr>
              <p:cNvPr id="444" name="Google Shape;444;p31"/>
              <p:cNvSpPr/>
              <p:nvPr/>
            </p:nvSpPr>
            <p:spPr>
              <a:xfrm>
                <a:off x="7050546" y="1096947"/>
                <a:ext cx="512975" cy="1014176"/>
              </a:xfrm>
              <a:custGeom>
                <a:avLst/>
                <a:gdLst/>
                <a:ahLst/>
                <a:cxnLst/>
                <a:rect l="l" t="t" r="r" b="b"/>
                <a:pathLst>
                  <a:path w="512975" h="1014176" extrusionOk="0">
                    <a:moveTo>
                      <a:pt x="512976" y="512976"/>
                    </a:moveTo>
                    <a:cubicBezTo>
                      <a:pt x="512976" y="229635"/>
                      <a:pt x="283341" y="0"/>
                      <a:pt x="0" y="0"/>
                    </a:cubicBezTo>
                    <a:lnTo>
                      <a:pt x="0" y="512976"/>
                    </a:lnTo>
                    <a:lnTo>
                      <a:pt x="109538" y="1014177"/>
                    </a:lnTo>
                    <a:cubicBezTo>
                      <a:pt x="340161" y="963966"/>
                      <a:pt x="512976" y="758639"/>
                      <a:pt x="512976" y="512976"/>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45" name="Google Shape;445;p31"/>
              <p:cNvSpPr/>
              <p:nvPr/>
            </p:nvSpPr>
            <p:spPr>
              <a:xfrm>
                <a:off x="6727477" y="1609923"/>
                <a:ext cx="432531" cy="512975"/>
              </a:xfrm>
              <a:custGeom>
                <a:avLst/>
                <a:gdLst/>
                <a:ahLst/>
                <a:cxnLst/>
                <a:rect l="l" t="t" r="r" b="b"/>
                <a:pathLst>
                  <a:path w="432531" h="512975" extrusionOk="0">
                    <a:moveTo>
                      <a:pt x="0" y="398500"/>
                    </a:moveTo>
                    <a:cubicBezTo>
                      <a:pt x="88192" y="470057"/>
                      <a:pt x="200617" y="512976"/>
                      <a:pt x="322993" y="512976"/>
                    </a:cubicBezTo>
                    <a:cubicBezTo>
                      <a:pt x="360594" y="512976"/>
                      <a:pt x="397208" y="508874"/>
                      <a:pt x="432531" y="501201"/>
                    </a:cubicBezTo>
                    <a:lnTo>
                      <a:pt x="322993" y="0"/>
                    </a:lnTo>
                    <a:lnTo>
                      <a:pt x="0" y="3985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sp>
          <p:nvSpPr>
            <p:cNvPr id="446" name="Google Shape;446;p31"/>
            <p:cNvSpPr/>
            <p:nvPr/>
          </p:nvSpPr>
          <p:spPr>
            <a:xfrm>
              <a:off x="7755275" y="507863"/>
              <a:ext cx="222402" cy="439126"/>
            </a:xfrm>
            <a:custGeom>
              <a:avLst/>
              <a:gdLst/>
              <a:ahLst/>
              <a:cxnLst/>
              <a:rect l="l" t="t" r="r" b="b"/>
              <a:pathLst>
                <a:path w="413540" h="816522" extrusionOk="0">
                  <a:moveTo>
                    <a:pt x="0" y="0"/>
                  </a:moveTo>
                  <a:lnTo>
                    <a:pt x="0" y="512976"/>
                  </a:lnTo>
                  <a:lnTo>
                    <a:pt x="413541" y="81652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47" name="Google Shape;447;p31"/>
            <p:cNvSpPr/>
            <p:nvPr/>
          </p:nvSpPr>
          <p:spPr>
            <a:xfrm>
              <a:off x="7918481" y="577354"/>
              <a:ext cx="207735" cy="40730"/>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48" name="Google Shape;448;p31"/>
            <p:cNvSpPr/>
            <p:nvPr/>
          </p:nvSpPr>
          <p:spPr>
            <a:xfrm>
              <a:off x="7986379" y="855683"/>
              <a:ext cx="207735" cy="40730"/>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49" name="Google Shape;449;p31"/>
            <p:cNvSpPr/>
            <p:nvPr/>
          </p:nvSpPr>
          <p:spPr>
            <a:xfrm>
              <a:off x="8078706" y="664248"/>
              <a:ext cx="133057" cy="408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50" name="Google Shape;450;p31"/>
            <p:cNvSpPr/>
            <p:nvPr/>
          </p:nvSpPr>
          <p:spPr>
            <a:xfrm>
              <a:off x="8078706" y="691415"/>
              <a:ext cx="133057" cy="408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51" name="Google Shape;451;p31"/>
            <p:cNvSpPr/>
            <p:nvPr/>
          </p:nvSpPr>
          <p:spPr>
            <a:xfrm>
              <a:off x="8078706" y="718541"/>
              <a:ext cx="133057" cy="408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52" name="Google Shape;452;p31"/>
            <p:cNvSpPr/>
            <p:nvPr/>
          </p:nvSpPr>
          <p:spPr>
            <a:xfrm>
              <a:off x="8078706" y="946989"/>
              <a:ext cx="133057" cy="408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53" name="Google Shape;453;p31"/>
            <p:cNvSpPr/>
            <p:nvPr/>
          </p:nvSpPr>
          <p:spPr>
            <a:xfrm>
              <a:off x="8078706" y="974156"/>
              <a:ext cx="133057" cy="408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54" name="Google Shape;454;p31"/>
            <p:cNvSpPr/>
            <p:nvPr/>
          </p:nvSpPr>
          <p:spPr>
            <a:xfrm>
              <a:off x="8078706" y="1001323"/>
              <a:ext cx="133057" cy="408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grpSp>
        <p:nvGrpSpPr>
          <p:cNvPr id="455" name="Google Shape;455;p31"/>
          <p:cNvGrpSpPr/>
          <p:nvPr/>
        </p:nvGrpSpPr>
        <p:grpSpPr>
          <a:xfrm>
            <a:off x="292998" y="4032000"/>
            <a:ext cx="1694813" cy="830678"/>
            <a:chOff x="-215300" y="3851305"/>
            <a:chExt cx="1694813" cy="830678"/>
          </a:xfrm>
        </p:grpSpPr>
        <p:sp>
          <p:nvSpPr>
            <p:cNvPr id="456" name="Google Shape;456;p31"/>
            <p:cNvSpPr/>
            <p:nvPr/>
          </p:nvSpPr>
          <p:spPr>
            <a:xfrm>
              <a:off x="861887" y="3947362"/>
              <a:ext cx="215268" cy="42207"/>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nvGrpSpPr>
            <p:cNvPr id="457" name="Google Shape;457;p31"/>
            <p:cNvGrpSpPr/>
            <p:nvPr/>
          </p:nvGrpSpPr>
          <p:grpSpPr>
            <a:xfrm>
              <a:off x="861887" y="4031521"/>
              <a:ext cx="137882" cy="60495"/>
              <a:chOff x="1949580" y="3551527"/>
              <a:chExt cx="247410" cy="108551"/>
            </a:xfrm>
          </p:grpSpPr>
          <p:sp>
            <p:nvSpPr>
              <p:cNvPr id="458" name="Google Shape;458;p31"/>
              <p:cNvSpPr/>
              <p:nvPr/>
            </p:nvSpPr>
            <p:spPr>
              <a:xfrm>
                <a:off x="1949580" y="3551527"/>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59" name="Google Shape;459;p31"/>
              <p:cNvSpPr/>
              <p:nvPr/>
            </p:nvSpPr>
            <p:spPr>
              <a:xfrm>
                <a:off x="1949580" y="3601966"/>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0" name="Google Shape;460;p31"/>
              <p:cNvSpPr/>
              <p:nvPr/>
            </p:nvSpPr>
            <p:spPr>
              <a:xfrm>
                <a:off x="1949580" y="3652482"/>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sp>
          <p:nvSpPr>
            <p:cNvPr id="461" name="Google Shape;461;p31"/>
            <p:cNvSpPr/>
            <p:nvPr/>
          </p:nvSpPr>
          <p:spPr>
            <a:xfrm>
              <a:off x="-85801" y="4070172"/>
              <a:ext cx="105708" cy="61151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2" name="Google Shape;462;p31"/>
            <p:cNvSpPr/>
            <p:nvPr/>
          </p:nvSpPr>
          <p:spPr>
            <a:xfrm>
              <a:off x="104109" y="4375950"/>
              <a:ext cx="105745" cy="305846"/>
            </a:xfrm>
            <a:custGeom>
              <a:avLst/>
              <a:gdLst/>
              <a:ahLst/>
              <a:cxnLst/>
              <a:rect l="l" t="t" r="r" b="b"/>
              <a:pathLst>
                <a:path w="189678" h="548602" extrusionOk="0">
                  <a:moveTo>
                    <a:pt x="0" y="0"/>
                  </a:moveTo>
                  <a:lnTo>
                    <a:pt x="189679" y="0"/>
                  </a:lnTo>
                  <a:lnTo>
                    <a:pt x="189679" y="548602"/>
                  </a:lnTo>
                  <a:lnTo>
                    <a:pt x="0" y="5486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3" name="Google Shape;463;p31"/>
            <p:cNvSpPr/>
            <p:nvPr/>
          </p:nvSpPr>
          <p:spPr>
            <a:xfrm>
              <a:off x="294020" y="4210340"/>
              <a:ext cx="105708" cy="471388"/>
            </a:xfrm>
            <a:custGeom>
              <a:avLst/>
              <a:gdLst/>
              <a:ahLst/>
              <a:cxnLst/>
              <a:rect l="l" t="t" r="r" b="b"/>
              <a:pathLst>
                <a:path w="189678" h="845843" extrusionOk="0">
                  <a:moveTo>
                    <a:pt x="0" y="0"/>
                  </a:moveTo>
                  <a:lnTo>
                    <a:pt x="189679" y="0"/>
                  </a:lnTo>
                  <a:lnTo>
                    <a:pt x="189679" y="845844"/>
                  </a:lnTo>
                  <a:lnTo>
                    <a:pt x="0" y="845844"/>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4" name="Google Shape;464;p31"/>
            <p:cNvSpPr/>
            <p:nvPr/>
          </p:nvSpPr>
          <p:spPr>
            <a:xfrm>
              <a:off x="483972" y="4070172"/>
              <a:ext cx="105708" cy="61151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5" name="Google Shape;465;p31"/>
            <p:cNvSpPr/>
            <p:nvPr/>
          </p:nvSpPr>
          <p:spPr>
            <a:xfrm>
              <a:off x="673882"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6" name="Google Shape;466;p31"/>
            <p:cNvSpPr/>
            <p:nvPr/>
          </p:nvSpPr>
          <p:spPr>
            <a:xfrm>
              <a:off x="863835" y="4347926"/>
              <a:ext cx="105745" cy="333923"/>
            </a:xfrm>
            <a:custGeom>
              <a:avLst/>
              <a:gdLst/>
              <a:ahLst/>
              <a:cxnLst/>
              <a:rect l="l" t="t" r="r" b="b"/>
              <a:pathLst>
                <a:path w="189678" h="598965" extrusionOk="0">
                  <a:moveTo>
                    <a:pt x="0" y="0"/>
                  </a:moveTo>
                  <a:lnTo>
                    <a:pt x="189679" y="0"/>
                  </a:lnTo>
                  <a:lnTo>
                    <a:pt x="189679" y="598965"/>
                  </a:lnTo>
                  <a:lnTo>
                    <a:pt x="0" y="59896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7" name="Google Shape;467;p31"/>
            <p:cNvSpPr/>
            <p:nvPr/>
          </p:nvSpPr>
          <p:spPr>
            <a:xfrm>
              <a:off x="1053745" y="4472133"/>
              <a:ext cx="105708" cy="209553"/>
            </a:xfrm>
            <a:custGeom>
              <a:avLst/>
              <a:gdLst/>
              <a:ahLst/>
              <a:cxnLst/>
              <a:rect l="l" t="t" r="r" b="b"/>
              <a:pathLst>
                <a:path w="189678" h="376014" extrusionOk="0">
                  <a:moveTo>
                    <a:pt x="0" y="0"/>
                  </a:moveTo>
                  <a:lnTo>
                    <a:pt x="189679" y="0"/>
                  </a:lnTo>
                  <a:lnTo>
                    <a:pt x="189679" y="376015"/>
                  </a:lnTo>
                  <a:lnTo>
                    <a:pt x="0" y="37601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8" name="Google Shape;468;p31"/>
            <p:cNvSpPr/>
            <p:nvPr/>
          </p:nvSpPr>
          <p:spPr>
            <a:xfrm>
              <a:off x="1243698" y="4070172"/>
              <a:ext cx="105708" cy="61151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69" name="Google Shape;469;p31"/>
            <p:cNvSpPr/>
            <p:nvPr/>
          </p:nvSpPr>
          <p:spPr>
            <a:xfrm>
              <a:off x="-32968" y="4087783"/>
              <a:ext cx="1329498" cy="420165"/>
            </a:xfrm>
            <a:custGeom>
              <a:avLst/>
              <a:gdLst/>
              <a:ahLst/>
              <a:cxnLst/>
              <a:rect l="l" t="t" r="r" b="b"/>
              <a:pathLst>
                <a:path w="2385606" h="753929" extrusionOk="0">
                  <a:moveTo>
                    <a:pt x="0" y="0"/>
                  </a:moveTo>
                  <a:lnTo>
                    <a:pt x="340844" y="555135"/>
                  </a:lnTo>
                  <a:lnTo>
                    <a:pt x="681613" y="262147"/>
                  </a:lnTo>
                  <a:lnTo>
                    <a:pt x="1022381" y="0"/>
                  </a:lnTo>
                  <a:lnTo>
                    <a:pt x="1363225" y="0"/>
                  </a:lnTo>
                  <a:lnTo>
                    <a:pt x="1703993" y="517077"/>
                  </a:lnTo>
                  <a:lnTo>
                    <a:pt x="2044838" y="753929"/>
                  </a:lnTo>
                  <a:lnTo>
                    <a:pt x="2385606"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0" name="Google Shape;470;p31"/>
            <p:cNvSpPr/>
            <p:nvPr/>
          </p:nvSpPr>
          <p:spPr>
            <a:xfrm>
              <a:off x="-61417" y="4059335"/>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1" name="Google Shape;471;p31"/>
            <p:cNvSpPr/>
            <p:nvPr/>
          </p:nvSpPr>
          <p:spPr>
            <a:xfrm>
              <a:off x="128536" y="4354614"/>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2" name="Google Shape;472;p31"/>
            <p:cNvSpPr/>
            <p:nvPr/>
          </p:nvSpPr>
          <p:spPr>
            <a:xfrm>
              <a:off x="318446" y="4189385"/>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3" name="Google Shape;473;p31"/>
            <p:cNvSpPr/>
            <p:nvPr/>
          </p:nvSpPr>
          <p:spPr>
            <a:xfrm>
              <a:off x="508356" y="4059335"/>
              <a:ext cx="56896" cy="56896"/>
            </a:xfrm>
            <a:custGeom>
              <a:avLst/>
              <a:gdLst/>
              <a:ahLst/>
              <a:cxnLst/>
              <a:rect l="l" t="t" r="r" b="b"/>
              <a:pathLst>
                <a:path w="102093" h="102093" extrusionOk="0">
                  <a:moveTo>
                    <a:pt x="102094" y="51047"/>
                  </a:moveTo>
                  <a:cubicBezTo>
                    <a:pt x="102094" y="79239"/>
                    <a:pt x="79239" y="102094"/>
                    <a:pt x="51047" y="102094"/>
                  </a:cubicBezTo>
                  <a:cubicBezTo>
                    <a:pt x="22855" y="102094"/>
                    <a:pt x="0" y="79239"/>
                    <a:pt x="0" y="51047"/>
                  </a:cubicBezTo>
                  <a:cubicBezTo>
                    <a:pt x="0" y="22854"/>
                    <a:pt x="22855" y="0"/>
                    <a:pt x="51047" y="0"/>
                  </a:cubicBezTo>
                  <a:cubicBezTo>
                    <a:pt x="79239" y="0"/>
                    <a:pt x="102094" y="22854"/>
                    <a:pt x="102094" y="5104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4" name="Google Shape;474;p31"/>
            <p:cNvSpPr/>
            <p:nvPr/>
          </p:nvSpPr>
          <p:spPr>
            <a:xfrm>
              <a:off x="698309" y="4059335"/>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5" name="Google Shape;475;p31"/>
            <p:cNvSpPr/>
            <p:nvPr/>
          </p:nvSpPr>
          <p:spPr>
            <a:xfrm>
              <a:off x="893172" y="4336368"/>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6" name="Google Shape;476;p31"/>
            <p:cNvSpPr/>
            <p:nvPr/>
          </p:nvSpPr>
          <p:spPr>
            <a:xfrm>
              <a:off x="1078172" y="4457909"/>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7" name="Google Shape;477;p31"/>
            <p:cNvSpPr/>
            <p:nvPr/>
          </p:nvSpPr>
          <p:spPr>
            <a:xfrm>
              <a:off x="1268082" y="4046253"/>
              <a:ext cx="56896" cy="56896"/>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478" name="Google Shape;478;p31"/>
            <p:cNvSpPr/>
            <p:nvPr/>
          </p:nvSpPr>
          <p:spPr>
            <a:xfrm>
              <a:off x="-215300" y="3851305"/>
              <a:ext cx="1694813" cy="830678"/>
            </a:xfrm>
            <a:custGeom>
              <a:avLst/>
              <a:gdLst/>
              <a:ahLst/>
              <a:cxnLst/>
              <a:rect l="l" t="t" r="r" b="b"/>
              <a:pathLst>
                <a:path w="3040023" h="1490006" extrusionOk="0">
                  <a:moveTo>
                    <a:pt x="2916053" y="1490007"/>
                  </a:moveTo>
                  <a:lnTo>
                    <a:pt x="123971" y="1490007"/>
                  </a:lnTo>
                  <a:cubicBezTo>
                    <a:pt x="55529" y="1490007"/>
                    <a:pt x="0" y="1434478"/>
                    <a:pt x="0" y="1366036"/>
                  </a:cubicBezTo>
                  <a:lnTo>
                    <a:pt x="0" y="123971"/>
                  </a:lnTo>
                  <a:cubicBezTo>
                    <a:pt x="0" y="55529"/>
                    <a:pt x="55529" y="0"/>
                    <a:pt x="123971" y="0"/>
                  </a:cubicBezTo>
                  <a:lnTo>
                    <a:pt x="2916053" y="0"/>
                  </a:lnTo>
                  <a:cubicBezTo>
                    <a:pt x="2984495" y="0"/>
                    <a:pt x="3040024" y="55529"/>
                    <a:pt x="3040024" y="123971"/>
                  </a:cubicBezTo>
                  <a:lnTo>
                    <a:pt x="3040024" y="1366036"/>
                  </a:lnTo>
                  <a:cubicBezTo>
                    <a:pt x="3040024" y="1434554"/>
                    <a:pt x="2984495" y="1490007"/>
                    <a:pt x="2916053" y="1490007"/>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pic>
        <p:nvPicPr>
          <p:cNvPr id="3" name="image1.png" descr="Next Academy – ERP Career Development">
            <a:extLst>
              <a:ext uri="{FF2B5EF4-FFF2-40B4-BE49-F238E27FC236}">
                <a16:creationId xmlns:a16="http://schemas.microsoft.com/office/drawing/2014/main" id="{D45A0C14-A1DA-3E30-6BFD-058577EB657C}"/>
              </a:ext>
            </a:extLst>
          </p:cNvPr>
          <p:cNvPicPr>
            <a:picLocks noChangeAspect="1"/>
          </p:cNvPicPr>
          <p:nvPr/>
        </p:nvPicPr>
        <p:blipFill>
          <a:blip r:embed="rId6" cstate="print"/>
          <a:stretch>
            <a:fillRect/>
          </a:stretch>
        </p:blipFill>
        <p:spPr>
          <a:xfrm>
            <a:off x="6092630" y="393717"/>
            <a:ext cx="856227" cy="206793"/>
          </a:xfrm>
          <a:prstGeom prst="rect">
            <a:avLst/>
          </a:prstGeom>
        </p:spPr>
      </p:pic>
      <p:pic>
        <p:nvPicPr>
          <p:cNvPr id="6" name="Picture 5" descr="A logo of a globe and a graduation cap&#10;&#10;Description automatically generated">
            <a:extLst>
              <a:ext uri="{FF2B5EF4-FFF2-40B4-BE49-F238E27FC236}">
                <a16:creationId xmlns:a16="http://schemas.microsoft.com/office/drawing/2014/main" id="{3A945C61-7712-C5BE-C494-E61E30AE34D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48857" y="177214"/>
            <a:ext cx="669952" cy="536811"/>
          </a:xfrm>
          <a:prstGeom prst="rect">
            <a:avLst/>
          </a:prstGeom>
        </p:spPr>
      </p:pic>
      <p:pic>
        <p:nvPicPr>
          <p:cNvPr id="7" name="Picture 6" descr="A black text on a white background&#10;&#10;Description automatically generated">
            <a:extLst>
              <a:ext uri="{FF2B5EF4-FFF2-40B4-BE49-F238E27FC236}">
                <a16:creationId xmlns:a16="http://schemas.microsoft.com/office/drawing/2014/main" id="{D03FF213-23E2-D026-6B45-BA61C72D61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45429" y="203137"/>
            <a:ext cx="1122439" cy="587955"/>
          </a:xfrm>
          <a:prstGeom prst="rect">
            <a:avLst/>
          </a:prstGeom>
        </p:spPr>
      </p:pic>
      <p:sp>
        <p:nvSpPr>
          <p:cNvPr id="9" name="TextBox 8">
            <a:extLst>
              <a:ext uri="{FF2B5EF4-FFF2-40B4-BE49-F238E27FC236}">
                <a16:creationId xmlns:a16="http://schemas.microsoft.com/office/drawing/2014/main" id="{31CB7A67-2E98-27BE-4E5F-FF81A2EEC250}"/>
              </a:ext>
            </a:extLst>
          </p:cNvPr>
          <p:cNvSpPr txBox="1"/>
          <p:nvPr/>
        </p:nvSpPr>
        <p:spPr>
          <a:xfrm>
            <a:off x="6092630" y="766243"/>
            <a:ext cx="2605527" cy="307777"/>
          </a:xfrm>
          <a:prstGeom prst="rect">
            <a:avLst/>
          </a:prstGeom>
          <a:noFill/>
        </p:spPr>
        <p:txBody>
          <a:bodyPr wrap="square">
            <a:spAutoFit/>
          </a:bodyPr>
          <a:lstStyle/>
          <a:p>
            <a:pPr algn="ctr"/>
            <a:r>
              <a:rPr lang="en-US" b="1" dirty="0">
                <a:effectLst/>
                <a:latin typeface="Times New Roman" panose="02020603050405020304" pitchFamily="18" charset="0"/>
                <a:ea typeface="Symbol" panose="05050102010706020507" pitchFamily="18" charset="2"/>
                <a:cs typeface="Times New Roman" panose="02020603050405020304" pitchFamily="18" charset="0"/>
              </a:rPr>
              <a:t>Track </a:t>
            </a:r>
            <a:r>
              <a:rPr lang="en-US" b="1" dirty="0">
                <a:latin typeface="Times New Roman" panose="02020603050405020304" pitchFamily="18" charset="0"/>
                <a:ea typeface="Symbol" panose="05050102010706020507" pitchFamily="18" charset="2"/>
                <a:cs typeface="Times New Roman" panose="02020603050405020304" pitchFamily="18" charset="0"/>
              </a:rPr>
              <a:t>/</a:t>
            </a:r>
            <a:r>
              <a:rPr lang="en-US" b="1" dirty="0">
                <a:effectLst/>
                <a:latin typeface="Times New Roman" panose="02020603050405020304" pitchFamily="18" charset="0"/>
                <a:ea typeface="Symbol" panose="05050102010706020507" pitchFamily="18" charset="2"/>
                <a:cs typeface="Times New Roman" panose="02020603050405020304" pitchFamily="18" charset="0"/>
              </a:rPr>
              <a:t> </a:t>
            </a:r>
            <a:r>
              <a:rPr lang="en-US" dirty="0">
                <a:effectLst/>
                <a:latin typeface="Times New Roman" panose="02020603050405020304" pitchFamily="18" charset="0"/>
                <a:ea typeface="Symbol" panose="05050102010706020507" pitchFamily="18" charset="2"/>
                <a:cs typeface="Times New Roman" panose="02020603050405020304" pitchFamily="18" charset="0"/>
              </a:rPr>
              <a:t>Data Analyst specialist</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Data Analysis ( Python )</a:t>
            </a:r>
            <a:endParaRPr lang="en-US" dirty="0"/>
          </a:p>
        </p:txBody>
      </p:sp>
      <p:pic>
        <p:nvPicPr>
          <p:cNvPr id="5" name="Picture 4" descr="A screenshot of a computer&#10;&#10;Description automatically generated">
            <a:extLst>
              <a:ext uri="{FF2B5EF4-FFF2-40B4-BE49-F238E27FC236}">
                <a16:creationId xmlns:a16="http://schemas.microsoft.com/office/drawing/2014/main" id="{172148B8-30CC-016E-6E6E-AECEDF859481}"/>
              </a:ext>
            </a:extLst>
          </p:cNvPr>
          <p:cNvPicPr>
            <a:picLocks noChangeAspect="1"/>
          </p:cNvPicPr>
          <p:nvPr/>
        </p:nvPicPr>
        <p:blipFill>
          <a:blip r:embed="rId6"/>
          <a:stretch>
            <a:fillRect/>
          </a:stretch>
        </p:blipFill>
        <p:spPr>
          <a:xfrm>
            <a:off x="720000" y="924125"/>
            <a:ext cx="7704000" cy="3920400"/>
          </a:xfrm>
          <a:prstGeom prst="rect">
            <a:avLst/>
          </a:prstGeom>
        </p:spPr>
      </p:pic>
    </p:spTree>
    <p:extLst>
      <p:ext uri="{BB962C8B-B14F-4D97-AF65-F5344CB8AC3E}">
        <p14:creationId xmlns:p14="http://schemas.microsoft.com/office/powerpoint/2010/main" val="966090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1011166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6" name="Google Shape;856;p43"/>
          <p:cNvSpPr txBox="1">
            <a:spLocks noGrp="1"/>
          </p:cNvSpPr>
          <p:nvPr>
            <p:ph type="title"/>
          </p:nvPr>
        </p:nvSpPr>
        <p:spPr>
          <a:xfrm>
            <a:off x="115259" y="12015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Data Analysis ( Excel - Pivot Tables )</a:t>
            </a:r>
            <a:endParaRPr dirty="0"/>
          </a:p>
        </p:txBody>
      </p:sp>
      <p:sp>
        <p:nvSpPr>
          <p:cNvPr id="858" name="Google Shape;858;p43"/>
          <p:cNvSpPr txBox="1"/>
          <p:nvPr/>
        </p:nvSpPr>
        <p:spPr>
          <a:xfrm>
            <a:off x="562020"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Hour </a:t>
            </a:r>
            <a:endParaRPr dirty="0">
              <a:solidFill>
                <a:schemeClr val="dk1"/>
              </a:solidFill>
              <a:latin typeface="Passion One"/>
              <a:ea typeface="Passion One"/>
              <a:cs typeface="Passion One"/>
              <a:sym typeface="Passion One"/>
            </a:endParaRPr>
          </a:p>
        </p:txBody>
      </p:sp>
      <p:sp>
        <p:nvSpPr>
          <p:cNvPr id="859" name="Google Shape;859;p43"/>
          <p:cNvSpPr txBox="1"/>
          <p:nvPr/>
        </p:nvSpPr>
        <p:spPr>
          <a:xfrm>
            <a:off x="2634626"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Day</a:t>
            </a:r>
            <a:endParaRPr dirty="0">
              <a:solidFill>
                <a:schemeClr val="dk1"/>
              </a:solidFill>
              <a:latin typeface="Passion One"/>
              <a:ea typeface="Passion One"/>
              <a:cs typeface="Passion One"/>
              <a:sym typeface="Passion One"/>
            </a:endParaRPr>
          </a:p>
        </p:txBody>
      </p:sp>
      <p:sp>
        <p:nvSpPr>
          <p:cNvPr id="860" name="Google Shape;860;p43"/>
          <p:cNvSpPr txBox="1"/>
          <p:nvPr/>
        </p:nvSpPr>
        <p:spPr>
          <a:xfrm>
            <a:off x="4707233"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Month</a:t>
            </a:r>
            <a:endParaRPr dirty="0">
              <a:solidFill>
                <a:schemeClr val="dk1"/>
              </a:solidFill>
              <a:latin typeface="Passion One"/>
              <a:ea typeface="Passion One"/>
              <a:cs typeface="Passion One"/>
              <a:sym typeface="Passion One"/>
            </a:endParaRPr>
          </a:p>
        </p:txBody>
      </p:sp>
      <p:sp>
        <p:nvSpPr>
          <p:cNvPr id="861" name="Google Shape;861;p43"/>
          <p:cNvSpPr txBox="1"/>
          <p:nvPr/>
        </p:nvSpPr>
        <p:spPr>
          <a:xfrm>
            <a:off x="6697547"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Year</a:t>
            </a:r>
            <a:endParaRPr dirty="0">
              <a:solidFill>
                <a:schemeClr val="dk1"/>
              </a:solidFill>
              <a:latin typeface="Passion One"/>
              <a:ea typeface="Passion One"/>
              <a:cs typeface="Passion One"/>
              <a:sym typeface="Passion One"/>
            </a:endParaRPr>
          </a:p>
        </p:txBody>
      </p:sp>
      <p:pic>
        <p:nvPicPr>
          <p:cNvPr id="11" name="Picture 10" descr="A screenshot of a computer&#10;&#10;Description automatically generated">
            <a:extLst>
              <a:ext uri="{FF2B5EF4-FFF2-40B4-BE49-F238E27FC236}">
                <a16:creationId xmlns:a16="http://schemas.microsoft.com/office/drawing/2014/main" id="{2A5713A7-3CCE-CFDA-7AD2-E5CCBACBEF65}"/>
              </a:ext>
            </a:extLst>
          </p:cNvPr>
          <p:cNvPicPr>
            <a:picLocks noChangeAspect="1"/>
          </p:cNvPicPr>
          <p:nvPr/>
        </p:nvPicPr>
        <p:blipFill>
          <a:blip r:embed="rId6"/>
          <a:stretch>
            <a:fillRect/>
          </a:stretch>
        </p:blipFill>
        <p:spPr>
          <a:xfrm>
            <a:off x="115261" y="1714501"/>
            <a:ext cx="2211258" cy="32385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descr="A screenshot of a computer&#10;&#10;Description automatically generated">
            <a:extLst>
              <a:ext uri="{FF2B5EF4-FFF2-40B4-BE49-F238E27FC236}">
                <a16:creationId xmlns:a16="http://schemas.microsoft.com/office/drawing/2014/main" id="{B5C16088-5572-3494-213E-CF4E39F48BD3}"/>
              </a:ext>
            </a:extLst>
          </p:cNvPr>
          <p:cNvPicPr>
            <a:picLocks noChangeAspect="1"/>
          </p:cNvPicPr>
          <p:nvPr/>
        </p:nvPicPr>
        <p:blipFill>
          <a:blip r:embed="rId7"/>
          <a:stretch>
            <a:fillRect/>
          </a:stretch>
        </p:blipFill>
        <p:spPr>
          <a:xfrm>
            <a:off x="2446456" y="1714499"/>
            <a:ext cx="2065576" cy="32385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5" name="Picture 14" descr="A screenshot of a computer&#10;&#10;Description automatically generated">
            <a:extLst>
              <a:ext uri="{FF2B5EF4-FFF2-40B4-BE49-F238E27FC236}">
                <a16:creationId xmlns:a16="http://schemas.microsoft.com/office/drawing/2014/main" id="{D2850A07-D1D2-B390-0F20-D5B903F5C3AC}"/>
              </a:ext>
            </a:extLst>
          </p:cNvPr>
          <p:cNvPicPr>
            <a:picLocks noChangeAspect="1"/>
          </p:cNvPicPr>
          <p:nvPr/>
        </p:nvPicPr>
        <p:blipFill>
          <a:blip r:embed="rId8"/>
          <a:stretch>
            <a:fillRect/>
          </a:stretch>
        </p:blipFill>
        <p:spPr>
          <a:xfrm>
            <a:off x="4631970" y="1714499"/>
            <a:ext cx="2001912" cy="32385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7" name="Picture 16" descr="A screenshot of a computer&#10;&#10;Description automatically generated">
            <a:extLst>
              <a:ext uri="{FF2B5EF4-FFF2-40B4-BE49-F238E27FC236}">
                <a16:creationId xmlns:a16="http://schemas.microsoft.com/office/drawing/2014/main" id="{9629585E-9A05-6959-E2D3-259D43124516}"/>
              </a:ext>
            </a:extLst>
          </p:cNvPr>
          <p:cNvPicPr>
            <a:picLocks noChangeAspect="1"/>
          </p:cNvPicPr>
          <p:nvPr/>
        </p:nvPicPr>
        <p:blipFill>
          <a:blip r:embed="rId9"/>
          <a:stretch>
            <a:fillRect/>
          </a:stretch>
        </p:blipFill>
        <p:spPr>
          <a:xfrm>
            <a:off x="6779840" y="1714498"/>
            <a:ext cx="2271226" cy="32385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42267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2638664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8" name="Google Shape;858;p43"/>
          <p:cNvSpPr txBox="1"/>
          <p:nvPr/>
        </p:nvSpPr>
        <p:spPr>
          <a:xfrm>
            <a:off x="562020"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Offense Code </a:t>
            </a:r>
            <a:endParaRPr dirty="0">
              <a:solidFill>
                <a:schemeClr val="dk1"/>
              </a:solidFill>
              <a:latin typeface="Passion One"/>
              <a:ea typeface="Passion One"/>
              <a:cs typeface="Passion One"/>
              <a:sym typeface="Passion One"/>
            </a:endParaRPr>
          </a:p>
        </p:txBody>
      </p:sp>
      <p:sp>
        <p:nvSpPr>
          <p:cNvPr id="859" name="Google Shape;859;p43"/>
          <p:cNvSpPr txBox="1"/>
          <p:nvPr/>
        </p:nvSpPr>
        <p:spPr>
          <a:xfrm>
            <a:off x="2634626"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algn="ctr"/>
            <a:r>
              <a:rPr lang="en-US" dirty="0">
                <a:solidFill>
                  <a:schemeClr val="dk1"/>
                </a:solidFill>
                <a:latin typeface="Passion One"/>
                <a:ea typeface="Passion One"/>
                <a:cs typeface="Passion One"/>
                <a:sym typeface="Passion One"/>
              </a:rPr>
              <a:t>Offense Description</a:t>
            </a:r>
          </a:p>
        </p:txBody>
      </p:sp>
      <p:sp>
        <p:nvSpPr>
          <p:cNvPr id="860" name="Google Shape;860;p43"/>
          <p:cNvSpPr txBox="1"/>
          <p:nvPr/>
        </p:nvSpPr>
        <p:spPr>
          <a:xfrm>
            <a:off x="4707233"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District</a:t>
            </a:r>
            <a:endParaRPr dirty="0">
              <a:solidFill>
                <a:schemeClr val="dk1"/>
              </a:solidFill>
              <a:latin typeface="Passion One"/>
              <a:ea typeface="Passion One"/>
              <a:cs typeface="Passion One"/>
              <a:sym typeface="Passion One"/>
            </a:endParaRPr>
          </a:p>
        </p:txBody>
      </p:sp>
      <p:sp>
        <p:nvSpPr>
          <p:cNvPr id="861" name="Google Shape;861;p43"/>
          <p:cNvSpPr txBox="1"/>
          <p:nvPr/>
        </p:nvSpPr>
        <p:spPr>
          <a:xfrm>
            <a:off x="6697547" y="860325"/>
            <a:ext cx="1824600" cy="7839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dirty="0">
                <a:solidFill>
                  <a:schemeClr val="dk1"/>
                </a:solidFill>
                <a:latin typeface="Passion One"/>
                <a:ea typeface="Passion One"/>
                <a:cs typeface="Passion One"/>
                <a:sym typeface="Passion One"/>
              </a:rPr>
              <a:t>Street</a:t>
            </a:r>
            <a:endParaRPr dirty="0">
              <a:solidFill>
                <a:schemeClr val="dk1"/>
              </a:solidFill>
              <a:latin typeface="Passion One"/>
              <a:ea typeface="Passion One"/>
              <a:cs typeface="Passion One"/>
              <a:sym typeface="Passion One"/>
            </a:endParaRPr>
          </a:p>
        </p:txBody>
      </p:sp>
      <p:pic>
        <p:nvPicPr>
          <p:cNvPr id="4" name="Picture 3">
            <a:extLst>
              <a:ext uri="{FF2B5EF4-FFF2-40B4-BE49-F238E27FC236}">
                <a16:creationId xmlns:a16="http://schemas.microsoft.com/office/drawing/2014/main" id="{16E61DDB-C4BB-CB75-F6DF-3D60A4755A41}"/>
              </a:ext>
            </a:extLst>
          </p:cNvPr>
          <p:cNvPicPr>
            <a:picLocks noChangeAspect="1"/>
          </p:cNvPicPr>
          <p:nvPr/>
        </p:nvPicPr>
        <p:blipFill>
          <a:blip r:embed="rId6"/>
          <a:stretch>
            <a:fillRect/>
          </a:stretch>
        </p:blipFill>
        <p:spPr>
          <a:xfrm>
            <a:off x="50400" y="1749600"/>
            <a:ext cx="2260800" cy="3273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id="{DE408ACA-55BD-4E69-7BB9-F3590E2EDC02}"/>
              </a:ext>
            </a:extLst>
          </p:cNvPr>
          <p:cNvPicPr>
            <a:picLocks noChangeAspect="1"/>
          </p:cNvPicPr>
          <p:nvPr/>
        </p:nvPicPr>
        <p:blipFill>
          <a:blip r:embed="rId7"/>
          <a:stretch>
            <a:fillRect/>
          </a:stretch>
        </p:blipFill>
        <p:spPr>
          <a:xfrm>
            <a:off x="2446453" y="1749600"/>
            <a:ext cx="2125547" cy="3273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id="{1988FBAA-3B75-0638-4156-B8ED5ADD6579}"/>
              </a:ext>
            </a:extLst>
          </p:cNvPr>
          <p:cNvPicPr>
            <a:picLocks noChangeAspect="1"/>
          </p:cNvPicPr>
          <p:nvPr/>
        </p:nvPicPr>
        <p:blipFill>
          <a:blip r:embed="rId8"/>
          <a:stretch>
            <a:fillRect/>
          </a:stretch>
        </p:blipFill>
        <p:spPr>
          <a:xfrm>
            <a:off x="4707232" y="1749600"/>
            <a:ext cx="1990315" cy="3273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8E450C76-240A-1EAF-B2D7-F081116874C9}"/>
              </a:ext>
            </a:extLst>
          </p:cNvPr>
          <p:cNvPicPr>
            <a:picLocks noChangeAspect="1"/>
          </p:cNvPicPr>
          <p:nvPr/>
        </p:nvPicPr>
        <p:blipFill>
          <a:blip r:embed="rId9"/>
          <a:stretch>
            <a:fillRect/>
          </a:stretch>
        </p:blipFill>
        <p:spPr>
          <a:xfrm>
            <a:off x="6832779" y="1749600"/>
            <a:ext cx="2125548" cy="3273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Google Shape;856;p43">
            <a:extLst>
              <a:ext uri="{FF2B5EF4-FFF2-40B4-BE49-F238E27FC236}">
                <a16:creationId xmlns:a16="http://schemas.microsoft.com/office/drawing/2014/main" id="{32E75644-9BB6-DB36-1E0F-B04E11D226E3}"/>
              </a:ext>
            </a:extLst>
          </p:cNvPr>
          <p:cNvSpPr txBox="1">
            <a:spLocks noGrp="1"/>
          </p:cNvSpPr>
          <p:nvPr>
            <p:ph type="title"/>
          </p:nvPr>
        </p:nvSpPr>
        <p:spPr>
          <a:xfrm>
            <a:off x="115259" y="120150"/>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Data Analysis ( Excel - Pivot Tables )</a:t>
            </a:r>
            <a:endParaRPr dirty="0"/>
          </a:p>
        </p:txBody>
      </p:sp>
    </p:spTree>
    <p:extLst>
      <p:ext uri="{BB962C8B-B14F-4D97-AF65-F5344CB8AC3E}">
        <p14:creationId xmlns:p14="http://schemas.microsoft.com/office/powerpoint/2010/main" val="4072853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7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8A12C2-3ABB-8889-8B1D-BDA9D9203A4D}"/>
              </a:ext>
            </a:extLst>
          </p:cNvPr>
          <p:cNvGraphicFramePr>
            <a:graphicFrameLocks noChangeAspect="1"/>
          </p:cNvGraphicFramePr>
          <p:nvPr>
            <p:custDataLst>
              <p:tags r:id="rId1"/>
            </p:custDataLst>
            <p:extLst>
              <p:ext uri="{D42A27DB-BD31-4B8C-83A1-F6EECF244321}">
                <p14:modId xmlns:p14="http://schemas.microsoft.com/office/powerpoint/2010/main" val="356564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CE8A12C2-3ABB-8889-8B1D-BDA9D9203A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4" name="Google Shape;574;p35"/>
          <p:cNvSpPr txBox="1">
            <a:spLocks noGrp="1"/>
          </p:cNvSpPr>
          <p:nvPr>
            <p:ph type="title"/>
          </p:nvPr>
        </p:nvSpPr>
        <p:spPr>
          <a:xfrm>
            <a:off x="2946160" y="1798299"/>
            <a:ext cx="4150500" cy="691502"/>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br>
              <a:rPr lang="en-US" dirty="0"/>
            </a:br>
            <a:br>
              <a:rPr lang="en-US" dirty="0"/>
            </a:br>
            <a:br>
              <a:rPr lang="en-US" dirty="0"/>
            </a:br>
            <a:br>
              <a:rPr lang="en-US" dirty="0"/>
            </a:br>
            <a:br>
              <a:rPr lang="en-US" dirty="0"/>
            </a:br>
            <a:br>
              <a:rPr lang="en-US" dirty="0"/>
            </a:br>
            <a:br>
              <a:rPr lang="en-US" dirty="0"/>
            </a:br>
            <a:br>
              <a:rPr lang="en-US" dirty="0"/>
            </a:br>
            <a:r>
              <a:rPr lang="en-US" dirty="0"/>
              <a:t>Data Visualization</a:t>
            </a:r>
          </a:p>
        </p:txBody>
      </p:sp>
      <p:sp>
        <p:nvSpPr>
          <p:cNvPr id="575" name="Google Shape;575;p35"/>
          <p:cNvSpPr txBox="1">
            <a:spLocks noGrp="1"/>
          </p:cNvSpPr>
          <p:nvPr>
            <p:ph type="title" idx="2"/>
          </p:nvPr>
        </p:nvSpPr>
        <p:spPr>
          <a:xfrm>
            <a:off x="1475300" y="1690000"/>
            <a:ext cx="1294500" cy="90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3.</a:t>
            </a:r>
            <a:endParaRPr dirty="0"/>
          </a:p>
        </p:txBody>
      </p:sp>
      <p:grpSp>
        <p:nvGrpSpPr>
          <p:cNvPr id="576" name="Google Shape;576;p35"/>
          <p:cNvGrpSpPr/>
          <p:nvPr/>
        </p:nvGrpSpPr>
        <p:grpSpPr>
          <a:xfrm>
            <a:off x="7783346" y="490666"/>
            <a:ext cx="901968" cy="901968"/>
            <a:chOff x="1350404" y="-3124999"/>
            <a:chExt cx="1570279" cy="1570279"/>
          </a:xfrm>
        </p:grpSpPr>
        <p:sp>
          <p:nvSpPr>
            <p:cNvPr id="577" name="Google Shape;577;p35"/>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8" name="Google Shape;578;p35"/>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9" name="Google Shape;579;p35"/>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0" name="Google Shape;580;p35"/>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581" name="Google Shape;581;p35"/>
          <p:cNvGrpSpPr/>
          <p:nvPr/>
        </p:nvGrpSpPr>
        <p:grpSpPr>
          <a:xfrm>
            <a:off x="713029" y="3447254"/>
            <a:ext cx="1266652" cy="1056012"/>
            <a:chOff x="5378191" y="1701500"/>
            <a:chExt cx="611171" cy="509535"/>
          </a:xfrm>
        </p:grpSpPr>
        <p:sp>
          <p:nvSpPr>
            <p:cNvPr id="582" name="Google Shape;582;p35"/>
            <p:cNvSpPr/>
            <p:nvPr/>
          </p:nvSpPr>
          <p:spPr>
            <a:xfrm>
              <a:off x="5378191" y="1701500"/>
              <a:ext cx="611171" cy="509535"/>
            </a:xfrm>
            <a:custGeom>
              <a:avLst/>
              <a:gdLst/>
              <a:ahLst/>
              <a:cxnLst/>
              <a:rect l="l" t="t" r="r" b="b"/>
              <a:pathLst>
                <a:path w="1266676" h="1056032" extrusionOk="0">
                  <a:moveTo>
                    <a:pt x="1101761" y="1056032"/>
                  </a:moveTo>
                  <a:lnTo>
                    <a:pt x="164915" y="1056032"/>
                  </a:lnTo>
                  <a:cubicBezTo>
                    <a:pt x="73835" y="1056032"/>
                    <a:pt x="0" y="982197"/>
                    <a:pt x="0" y="891118"/>
                  </a:cubicBezTo>
                  <a:lnTo>
                    <a:pt x="0" y="164915"/>
                  </a:lnTo>
                  <a:cubicBezTo>
                    <a:pt x="0" y="73836"/>
                    <a:pt x="73835" y="0"/>
                    <a:pt x="164915" y="0"/>
                  </a:cubicBezTo>
                  <a:lnTo>
                    <a:pt x="1101761" y="0"/>
                  </a:lnTo>
                  <a:cubicBezTo>
                    <a:pt x="1192841" y="0"/>
                    <a:pt x="1266677" y="73836"/>
                    <a:pt x="1266677" y="164915"/>
                  </a:cubicBezTo>
                  <a:lnTo>
                    <a:pt x="1266677" y="891118"/>
                  </a:lnTo>
                  <a:cubicBezTo>
                    <a:pt x="1266677" y="982197"/>
                    <a:pt x="1192841" y="1056032"/>
                    <a:pt x="1101761" y="105603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3" name="Google Shape;583;p35"/>
            <p:cNvSpPr/>
            <p:nvPr/>
          </p:nvSpPr>
          <p:spPr>
            <a:xfrm>
              <a:off x="5497928" y="1776815"/>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4" name="Google Shape;584;p35"/>
            <p:cNvSpPr/>
            <p:nvPr/>
          </p:nvSpPr>
          <p:spPr>
            <a:xfrm>
              <a:off x="5608451" y="1776815"/>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5" name="Google Shape;585;p35"/>
            <p:cNvSpPr/>
            <p:nvPr/>
          </p:nvSpPr>
          <p:spPr>
            <a:xfrm>
              <a:off x="571901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6" name="Google Shape;586;p35"/>
            <p:cNvSpPr/>
            <p:nvPr/>
          </p:nvSpPr>
          <p:spPr>
            <a:xfrm>
              <a:off x="582957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7" name="Google Shape;587;p35"/>
            <p:cNvSpPr/>
            <p:nvPr/>
          </p:nvSpPr>
          <p:spPr>
            <a:xfrm>
              <a:off x="5497928" y="1882549"/>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8" name="Google Shape;588;p35"/>
            <p:cNvSpPr/>
            <p:nvPr/>
          </p:nvSpPr>
          <p:spPr>
            <a:xfrm>
              <a:off x="5608451" y="1882549"/>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9" name="Google Shape;589;p35"/>
            <p:cNvSpPr/>
            <p:nvPr/>
          </p:nvSpPr>
          <p:spPr>
            <a:xfrm>
              <a:off x="571901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0" name="Google Shape;590;p35"/>
            <p:cNvSpPr/>
            <p:nvPr/>
          </p:nvSpPr>
          <p:spPr>
            <a:xfrm>
              <a:off x="582957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1" name="Google Shape;591;p35"/>
            <p:cNvSpPr/>
            <p:nvPr/>
          </p:nvSpPr>
          <p:spPr>
            <a:xfrm>
              <a:off x="5497928" y="198832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2" name="Google Shape;592;p35"/>
            <p:cNvSpPr/>
            <p:nvPr/>
          </p:nvSpPr>
          <p:spPr>
            <a:xfrm>
              <a:off x="5608451" y="198832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3" name="Google Shape;593;p35"/>
            <p:cNvSpPr/>
            <p:nvPr/>
          </p:nvSpPr>
          <p:spPr>
            <a:xfrm>
              <a:off x="571901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4" name="Google Shape;594;p35"/>
            <p:cNvSpPr/>
            <p:nvPr/>
          </p:nvSpPr>
          <p:spPr>
            <a:xfrm>
              <a:off x="582957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5" name="Google Shape;595;p35"/>
            <p:cNvSpPr/>
            <p:nvPr/>
          </p:nvSpPr>
          <p:spPr>
            <a:xfrm>
              <a:off x="5497928" y="209409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6" name="Google Shape;596;p35"/>
            <p:cNvSpPr/>
            <p:nvPr/>
          </p:nvSpPr>
          <p:spPr>
            <a:xfrm>
              <a:off x="5608451" y="209409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7" name="Google Shape;597;p35"/>
            <p:cNvSpPr/>
            <p:nvPr/>
          </p:nvSpPr>
          <p:spPr>
            <a:xfrm>
              <a:off x="571901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8" name="Google Shape;598;p35"/>
            <p:cNvSpPr/>
            <p:nvPr/>
          </p:nvSpPr>
          <p:spPr>
            <a:xfrm>
              <a:off x="582957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Tree>
    <p:extLst>
      <p:ext uri="{BB962C8B-B14F-4D97-AF65-F5344CB8AC3E}">
        <p14:creationId xmlns:p14="http://schemas.microsoft.com/office/powerpoint/2010/main" val="402173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3927387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5A72C38D-22A3-A223-8C31-8025D13BDB80}"/>
              </a:ext>
            </a:extLst>
          </p:cNvPr>
          <p:cNvSpPr txBox="1"/>
          <p:nvPr/>
        </p:nvSpPr>
        <p:spPr>
          <a:xfrm>
            <a:off x="633600" y="1493538"/>
            <a:ext cx="8172000" cy="1631216"/>
          </a:xfrm>
          <a:prstGeom prst="rect">
            <a:avLst/>
          </a:prstGeom>
          <a:noFill/>
        </p:spPr>
        <p:txBody>
          <a:bodyPr wrap="square">
            <a:spAutoFit/>
          </a:bodyPr>
          <a:lstStyle/>
          <a:p>
            <a:pPr marL="228600" indent="-228600" algn="just">
              <a:buAutoNum type="arabicPeriod"/>
            </a:pPr>
            <a:r>
              <a:rPr lang="en-US" sz="1000" dirty="0"/>
              <a:t>What are the most common crime types in Boston? </a:t>
            </a:r>
          </a:p>
          <a:p>
            <a:pPr algn="just"/>
            <a:endParaRPr lang="en-US" sz="1000" dirty="0"/>
          </a:p>
          <a:p>
            <a:pPr algn="just"/>
            <a:r>
              <a:rPr lang="en-US" sz="1000" dirty="0"/>
              <a:t>The dashboard can provide a breakdown of the top 10 crimes, likely showing categories like property crimes, violent crimes, and others.</a:t>
            </a:r>
          </a:p>
          <a:p>
            <a:pPr algn="just"/>
            <a:endParaRPr lang="en-US" sz="1000" dirty="0"/>
          </a:p>
          <a:p>
            <a:pPr algn="just"/>
            <a:r>
              <a:rPr lang="en-US" sz="1000" dirty="0"/>
              <a:t>2. How have crime rates changed over time in Boston? </a:t>
            </a:r>
          </a:p>
          <a:p>
            <a:pPr algn="just"/>
            <a:endParaRPr lang="en-US" sz="1000" dirty="0"/>
          </a:p>
          <a:p>
            <a:pPr algn="just"/>
            <a:r>
              <a:rPr lang="en-US" sz="1000" dirty="0"/>
              <a:t>The "Crimes Over Years" chart would visualize trends in crime occurrences over a specific period, allowing users to identify increases or decreases in crime rates.</a:t>
            </a:r>
          </a:p>
          <a:p>
            <a:pPr algn="just"/>
            <a:endParaRPr lang="en-US" sz="1000" dirty="0"/>
          </a:p>
          <a:p>
            <a:pPr algn="just"/>
            <a:r>
              <a:rPr lang="en-US" sz="1000" dirty="0"/>
              <a:t>3. Are there specific areas or neighborhoods in Boston with higher crime?</a:t>
            </a:r>
          </a:p>
        </p:txBody>
      </p:sp>
      <p:sp>
        <p:nvSpPr>
          <p:cNvPr id="22" name="Title 3">
            <a:extLst>
              <a:ext uri="{FF2B5EF4-FFF2-40B4-BE49-F238E27FC236}">
                <a16:creationId xmlns:a16="http://schemas.microsoft.com/office/drawing/2014/main" id="{3D97C9D9-E9FD-87E6-F1A9-CDDE183CF988}"/>
              </a:ext>
            </a:extLst>
          </p:cNvPr>
          <p:cNvSpPr>
            <a:spLocks noGrp="1"/>
          </p:cNvSpPr>
          <p:nvPr>
            <p:ph type="title"/>
          </p:nvPr>
        </p:nvSpPr>
        <p:spPr>
          <a:xfrm>
            <a:off x="180000" y="193025"/>
            <a:ext cx="7704000" cy="572700"/>
          </a:xfrm>
        </p:spPr>
        <p:txBody>
          <a:bodyPr vert="horz"/>
          <a:lstStyle/>
          <a:p>
            <a:r>
              <a:rPr lang="en-US" dirty="0"/>
              <a:t>The following dashboard answer these questions and even more:</a:t>
            </a:r>
          </a:p>
        </p:txBody>
      </p:sp>
    </p:spTree>
    <p:extLst>
      <p:ext uri="{BB962C8B-B14F-4D97-AF65-F5344CB8AC3E}">
        <p14:creationId xmlns:p14="http://schemas.microsoft.com/office/powerpoint/2010/main" val="13668320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1  (  Crime Dashboard )</a:t>
            </a:r>
            <a:endParaRPr lang="en-US" dirty="0"/>
          </a:p>
        </p:txBody>
      </p:sp>
      <p:pic>
        <p:nvPicPr>
          <p:cNvPr id="5" name="Picture 4" descr="A screenshot of a graph&#10;&#10;Description automatically generated">
            <a:extLst>
              <a:ext uri="{FF2B5EF4-FFF2-40B4-BE49-F238E27FC236}">
                <a16:creationId xmlns:a16="http://schemas.microsoft.com/office/drawing/2014/main" id="{B7BBA952-9998-D420-B85E-9A74FF117AA4}"/>
              </a:ext>
            </a:extLst>
          </p:cNvPr>
          <p:cNvPicPr>
            <a:picLocks noChangeAspect="1"/>
          </p:cNvPicPr>
          <p:nvPr/>
        </p:nvPicPr>
        <p:blipFill>
          <a:blip r:embed="rId6"/>
          <a:stretch>
            <a:fillRect/>
          </a:stretch>
        </p:blipFill>
        <p:spPr>
          <a:xfrm>
            <a:off x="856800" y="943200"/>
            <a:ext cx="7704000" cy="4200299"/>
          </a:xfrm>
          <a:prstGeom prst="rect">
            <a:avLst/>
          </a:prstGeom>
        </p:spPr>
      </p:pic>
    </p:spTree>
    <p:extLst>
      <p:ext uri="{BB962C8B-B14F-4D97-AF65-F5344CB8AC3E}">
        <p14:creationId xmlns:p14="http://schemas.microsoft.com/office/powerpoint/2010/main" val="12476629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24763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2  ( UCR )</a:t>
            </a:r>
            <a:endParaRPr lang="en-US" dirty="0"/>
          </a:p>
        </p:txBody>
      </p:sp>
      <p:pic>
        <p:nvPicPr>
          <p:cNvPr id="5" name="Picture 4" descr="A graph with blue squares&#10;&#10;Description automatically generated with medium confidence">
            <a:extLst>
              <a:ext uri="{FF2B5EF4-FFF2-40B4-BE49-F238E27FC236}">
                <a16:creationId xmlns:a16="http://schemas.microsoft.com/office/drawing/2014/main" id="{BF3B49A2-B7B1-511D-5897-ED37737E2A13}"/>
              </a:ext>
            </a:extLst>
          </p:cNvPr>
          <p:cNvPicPr>
            <a:picLocks noChangeAspect="1"/>
          </p:cNvPicPr>
          <p:nvPr/>
        </p:nvPicPr>
        <p:blipFill>
          <a:blip r:embed="rId6"/>
          <a:stretch>
            <a:fillRect/>
          </a:stretch>
        </p:blipFill>
        <p:spPr>
          <a:xfrm>
            <a:off x="819057" y="886741"/>
            <a:ext cx="7505886" cy="4063734"/>
          </a:xfrm>
          <a:prstGeom prst="rect">
            <a:avLst/>
          </a:prstGeom>
        </p:spPr>
      </p:pic>
    </p:spTree>
    <p:extLst>
      <p:ext uri="{BB962C8B-B14F-4D97-AF65-F5344CB8AC3E}">
        <p14:creationId xmlns:p14="http://schemas.microsoft.com/office/powerpoint/2010/main" val="24061005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2232831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3 (  Top 10 Crimes )</a:t>
            </a:r>
            <a:endParaRPr lang="en-US" dirty="0"/>
          </a:p>
        </p:txBody>
      </p:sp>
      <p:pic>
        <p:nvPicPr>
          <p:cNvPr id="5" name="Picture 4" descr="A screenshot of a color chart&#10;&#10;Description automatically generated">
            <a:extLst>
              <a:ext uri="{FF2B5EF4-FFF2-40B4-BE49-F238E27FC236}">
                <a16:creationId xmlns:a16="http://schemas.microsoft.com/office/drawing/2014/main" id="{6017FB33-8DE9-3B36-F5CE-88DDDC1DA4C3}"/>
              </a:ext>
            </a:extLst>
          </p:cNvPr>
          <p:cNvPicPr>
            <a:picLocks noChangeAspect="1"/>
          </p:cNvPicPr>
          <p:nvPr/>
        </p:nvPicPr>
        <p:blipFill>
          <a:blip r:embed="rId6"/>
          <a:stretch>
            <a:fillRect/>
          </a:stretch>
        </p:blipFill>
        <p:spPr>
          <a:xfrm>
            <a:off x="720000" y="765724"/>
            <a:ext cx="7932244" cy="4377775"/>
          </a:xfrm>
          <a:prstGeom prst="rect">
            <a:avLst/>
          </a:prstGeom>
        </p:spPr>
      </p:pic>
    </p:spTree>
    <p:extLst>
      <p:ext uri="{BB962C8B-B14F-4D97-AF65-F5344CB8AC3E}">
        <p14:creationId xmlns:p14="http://schemas.microsoft.com/office/powerpoint/2010/main" val="3756376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28290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4 ( Crimes Over Months )</a:t>
            </a:r>
            <a:endParaRPr lang="en-US" dirty="0"/>
          </a:p>
        </p:txBody>
      </p:sp>
      <p:pic>
        <p:nvPicPr>
          <p:cNvPr id="5" name="Picture 4" descr="A line graph with a red and white background&#10;&#10;Description automatically generated">
            <a:extLst>
              <a:ext uri="{FF2B5EF4-FFF2-40B4-BE49-F238E27FC236}">
                <a16:creationId xmlns:a16="http://schemas.microsoft.com/office/drawing/2014/main" id="{898A6C5A-9A75-FBFB-15DC-A2EE74D9ED55}"/>
              </a:ext>
            </a:extLst>
          </p:cNvPr>
          <p:cNvPicPr>
            <a:picLocks noChangeAspect="1"/>
          </p:cNvPicPr>
          <p:nvPr/>
        </p:nvPicPr>
        <p:blipFill>
          <a:blip r:embed="rId6"/>
          <a:stretch>
            <a:fillRect/>
          </a:stretch>
        </p:blipFill>
        <p:spPr>
          <a:xfrm>
            <a:off x="943200" y="765725"/>
            <a:ext cx="8107200" cy="4332285"/>
          </a:xfrm>
          <a:prstGeom prst="rect">
            <a:avLst/>
          </a:prstGeom>
        </p:spPr>
      </p:pic>
    </p:spTree>
    <p:extLst>
      <p:ext uri="{BB962C8B-B14F-4D97-AF65-F5344CB8AC3E}">
        <p14:creationId xmlns:p14="http://schemas.microsoft.com/office/powerpoint/2010/main" val="1305816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3831856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5 ( Crimes Over Street )</a:t>
            </a:r>
            <a:endParaRPr lang="en-US" dirty="0"/>
          </a:p>
        </p:txBody>
      </p:sp>
      <p:pic>
        <p:nvPicPr>
          <p:cNvPr id="5" name="Picture 4" descr="A graph of blue bars&#10;&#10;Description automatically generated with medium confidence">
            <a:extLst>
              <a:ext uri="{FF2B5EF4-FFF2-40B4-BE49-F238E27FC236}">
                <a16:creationId xmlns:a16="http://schemas.microsoft.com/office/drawing/2014/main" id="{8064CD58-90CD-8AEA-79E8-A60C564DD609}"/>
              </a:ext>
            </a:extLst>
          </p:cNvPr>
          <p:cNvPicPr>
            <a:picLocks noChangeAspect="1"/>
          </p:cNvPicPr>
          <p:nvPr/>
        </p:nvPicPr>
        <p:blipFill>
          <a:blip r:embed="rId6"/>
          <a:stretch>
            <a:fillRect/>
          </a:stretch>
        </p:blipFill>
        <p:spPr>
          <a:xfrm>
            <a:off x="784800" y="789100"/>
            <a:ext cx="7891200" cy="4161375"/>
          </a:xfrm>
          <a:prstGeom prst="rect">
            <a:avLst/>
          </a:prstGeom>
        </p:spPr>
      </p:pic>
    </p:spTree>
    <p:extLst>
      <p:ext uri="{BB962C8B-B14F-4D97-AF65-F5344CB8AC3E}">
        <p14:creationId xmlns:p14="http://schemas.microsoft.com/office/powerpoint/2010/main" val="1444402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4754206-11D4-8E3B-1EC6-1FC3E9C8E621}"/>
              </a:ext>
            </a:extLst>
          </p:cNvPr>
          <p:cNvGraphicFramePr>
            <a:graphicFrameLocks noChangeAspect="1"/>
          </p:cNvGraphicFramePr>
          <p:nvPr>
            <p:custDataLst>
              <p:tags r:id="rId1"/>
            </p:custDataLst>
            <p:extLst>
              <p:ext uri="{D42A27DB-BD31-4B8C-83A1-F6EECF244321}">
                <p14:modId xmlns:p14="http://schemas.microsoft.com/office/powerpoint/2010/main" val="65696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94754206-11D4-8E3B-1EC6-1FC3E9C8E6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7" name="Google Shape;557;p34"/>
          <p:cNvSpPr txBox="1">
            <a:spLocks noGrp="1"/>
          </p:cNvSpPr>
          <p:nvPr>
            <p:ph type="title"/>
          </p:nvPr>
        </p:nvSpPr>
        <p:spPr>
          <a:xfrm>
            <a:off x="446400" y="172334"/>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b="1" dirty="0">
                <a:latin typeface="Times New Roman" panose="02020603050405020304" pitchFamily="18" charset="0"/>
                <a:cs typeface="Times New Roman" panose="02020603050405020304" pitchFamily="18" charset="0"/>
              </a:rPr>
              <a:t>Acknowlegment</a:t>
            </a:r>
            <a:endParaRPr b="1" dirty="0">
              <a:latin typeface="Times New Roman" panose="02020603050405020304" pitchFamily="18" charset="0"/>
              <a:cs typeface="Times New Roman" panose="02020603050405020304" pitchFamily="18" charset="0"/>
            </a:endParaRPr>
          </a:p>
        </p:txBody>
      </p:sp>
      <p:sp>
        <p:nvSpPr>
          <p:cNvPr id="558" name="Google Shape;558;p34"/>
          <p:cNvSpPr txBox="1">
            <a:spLocks noGrp="1"/>
          </p:cNvSpPr>
          <p:nvPr>
            <p:ph type="subTitle" idx="2"/>
          </p:nvPr>
        </p:nvSpPr>
        <p:spPr>
          <a:xfrm>
            <a:off x="801670" y="885973"/>
            <a:ext cx="7704100" cy="33741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solidFill>
                  <a:schemeClr val="tx1">
                    <a:lumMod val="50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Passion One"/>
              </a:rPr>
              <a:t>On my own behalf and on behalf of my team &amp; the whole group</a:t>
            </a:r>
          </a:p>
          <a:p>
            <a:pPr marL="0" lvl="0" indent="0" algn="l" rtl="0">
              <a:spcBef>
                <a:spcPts val="0"/>
              </a:spcBef>
              <a:spcAft>
                <a:spcPts val="0"/>
              </a:spcAft>
              <a:buNone/>
            </a:pPr>
            <a:endParaRPr lang="ar-EG" dirty="0">
              <a:solidFill>
                <a:schemeClr val="tx1">
                  <a:lumMod val="50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Passion One"/>
            </a:endParaRPr>
          </a:p>
          <a:p>
            <a:pPr algn="just"/>
            <a:r>
              <a:rPr lang="en-US" dirty="0">
                <a:solidFill>
                  <a:schemeClr val="tx1">
                    <a:lumMod val="50000"/>
                  </a:schemeClr>
                </a:solidFill>
                <a:latin typeface="Times New Roman" panose="02020603050405020304" pitchFamily="18" charset="0"/>
                <a:cs typeface="Times New Roman" panose="02020603050405020304" pitchFamily="18" charset="0"/>
                <a:sym typeface="Passion One"/>
              </a:rPr>
              <a:t>We would like to express our sincere gratitude to the </a:t>
            </a:r>
            <a:r>
              <a:rPr lang="en-US" dirty="0">
                <a:solidFill>
                  <a:schemeClr val="tx1">
                    <a:lumMod val="50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Passion One"/>
              </a:rPr>
              <a:t>Ministry of Communications and Information Technology (MCIT) </a:t>
            </a:r>
            <a:r>
              <a:rPr lang="en-US" dirty="0">
                <a:solidFill>
                  <a:schemeClr val="tx1">
                    <a:lumMod val="50000"/>
                  </a:schemeClr>
                </a:solidFill>
                <a:latin typeface="Times New Roman" panose="02020603050405020304" pitchFamily="18" charset="0"/>
                <a:cs typeface="Times New Roman" panose="02020603050405020304" pitchFamily="18" charset="0"/>
                <a:sym typeface="Passion One"/>
              </a:rPr>
              <a:t>for launching the Digital Egypt Pioneers Initiative (DEPI), and specifically for the Data Analyst Specialist track.</a:t>
            </a:r>
          </a:p>
          <a:p>
            <a:pPr algn="just"/>
            <a:endParaRPr lang="en-US" dirty="0">
              <a:solidFill>
                <a:schemeClr val="tx1">
                  <a:lumMod val="50000"/>
                </a:schemeClr>
              </a:solidFill>
              <a:latin typeface="Times New Roman" panose="02020603050405020304" pitchFamily="18" charset="0"/>
              <a:cs typeface="Times New Roman" panose="02020603050405020304" pitchFamily="18" charset="0"/>
              <a:sym typeface="Passion One"/>
            </a:endParaRPr>
          </a:p>
          <a:p>
            <a:pPr algn="just"/>
            <a:r>
              <a:rPr lang="en-US" dirty="0">
                <a:solidFill>
                  <a:schemeClr val="tx1">
                    <a:lumMod val="50000"/>
                  </a:schemeClr>
                </a:solidFill>
                <a:latin typeface="Times New Roman" panose="02020603050405020304" pitchFamily="18" charset="0"/>
                <a:cs typeface="Times New Roman" panose="02020603050405020304" pitchFamily="18" charset="0"/>
                <a:sym typeface="Passion One"/>
              </a:rPr>
              <a:t>We also extend our appreciation to </a:t>
            </a:r>
            <a:r>
              <a:rPr lang="en-US" dirty="0">
                <a:solidFill>
                  <a:schemeClr val="tx1">
                    <a:lumMod val="50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Passion One"/>
              </a:rPr>
              <a:t>Next Academy </a:t>
            </a:r>
            <a:r>
              <a:rPr lang="en-US" dirty="0">
                <a:solidFill>
                  <a:schemeClr val="tx1">
                    <a:lumMod val="50000"/>
                  </a:schemeClr>
                </a:solidFill>
                <a:latin typeface="Times New Roman" panose="02020603050405020304" pitchFamily="18" charset="0"/>
                <a:cs typeface="Times New Roman" panose="02020603050405020304" pitchFamily="18" charset="0"/>
                <a:sym typeface="Passion One"/>
              </a:rPr>
              <a:t>for their invaluable collaboration in this endeavor. A special thank goes for </a:t>
            </a:r>
            <a:r>
              <a:rPr lang="en-US" dirty="0">
                <a:solidFill>
                  <a:schemeClr val="tx1">
                    <a:lumMod val="50000"/>
                  </a:schemeClr>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Passion One"/>
              </a:rPr>
              <a:t>Abdullah Kamal </a:t>
            </a:r>
            <a:r>
              <a:rPr lang="en-US" dirty="0">
                <a:solidFill>
                  <a:schemeClr val="tx1">
                    <a:lumMod val="50000"/>
                  </a:schemeClr>
                </a:solidFill>
                <a:latin typeface="Times New Roman" panose="02020603050405020304" pitchFamily="18" charset="0"/>
                <a:cs typeface="Times New Roman" panose="02020603050405020304" pitchFamily="18" charset="0"/>
                <a:sym typeface="Passion One"/>
              </a:rPr>
              <a:t>for his dedication and expertise as instructor, guiding us through this vital program.</a:t>
            </a:r>
          </a:p>
          <a:p>
            <a:pPr algn="just"/>
            <a:endParaRPr lang="en-US" dirty="0">
              <a:solidFill>
                <a:schemeClr val="tx1">
                  <a:lumMod val="50000"/>
                </a:schemeClr>
              </a:solidFill>
              <a:latin typeface="Times New Roman" panose="02020603050405020304" pitchFamily="18" charset="0"/>
              <a:cs typeface="Times New Roman" panose="02020603050405020304" pitchFamily="18" charset="0"/>
              <a:sym typeface="Passion One"/>
            </a:endParaRPr>
          </a:p>
          <a:p>
            <a:pPr algn="just"/>
            <a:r>
              <a:rPr lang="en-US" dirty="0">
                <a:solidFill>
                  <a:schemeClr val="tx1">
                    <a:lumMod val="50000"/>
                  </a:schemeClr>
                </a:solidFill>
                <a:latin typeface="Times New Roman" panose="02020603050405020304" pitchFamily="18" charset="0"/>
                <a:cs typeface="Times New Roman" panose="02020603050405020304" pitchFamily="18" charset="0"/>
                <a:sym typeface="Passion One"/>
              </a:rPr>
              <a:t>Together, we are equipped as data analysts with the tools needed to secure us freelancing employment opportunities in the data analytics field. Thanks to everyone involved for this commitment to fostering our skills and shaping a brighter future for us.</a:t>
            </a:r>
          </a:p>
          <a:p>
            <a:pPr marL="0" lvl="0" indent="0" algn="l" rtl="0">
              <a:spcBef>
                <a:spcPts val="0"/>
              </a:spcBef>
              <a:spcAft>
                <a:spcPts val="0"/>
              </a:spcAft>
              <a:buNone/>
            </a:pPr>
            <a:endParaRPr dirty="0">
              <a:solidFill>
                <a:schemeClr val="tx1">
                  <a:lumMod val="50000"/>
                </a:schemeClr>
              </a:solidFill>
              <a:latin typeface="Times New Roman" panose="02020603050405020304" pitchFamily="18" charset="0"/>
              <a:cs typeface="+mj-cs"/>
            </a:endParaRPr>
          </a:p>
          <a:p>
            <a:pPr marL="0" lvl="0" indent="0" algn="l" rtl="0">
              <a:spcBef>
                <a:spcPts val="0"/>
              </a:spcBef>
              <a:spcAft>
                <a:spcPts val="0"/>
              </a:spcAft>
              <a:buNone/>
            </a:pPr>
            <a:endParaRPr dirty="0">
              <a:solidFill>
                <a:schemeClr val="tx1">
                  <a:lumMod val="50000"/>
                </a:schemeClr>
              </a:solidFill>
              <a:latin typeface="Times New Roman" panose="02020603050405020304" pitchFamily="18" charset="0"/>
              <a:cs typeface="+mj-cs"/>
            </a:endParaRPr>
          </a:p>
          <a:p>
            <a:pPr marL="0" lvl="0" indent="0" algn="l" rtl="0">
              <a:spcBef>
                <a:spcPts val="0"/>
              </a:spcBef>
              <a:spcAft>
                <a:spcPts val="0"/>
              </a:spcAft>
              <a:buNone/>
            </a:pPr>
            <a:endParaRPr dirty="0">
              <a:solidFill>
                <a:schemeClr val="tx1">
                  <a:lumMod val="50000"/>
                </a:schemeClr>
              </a:solidFill>
              <a:latin typeface="Times New Roman" panose="02020603050405020304" pitchFamily="18" charset="0"/>
              <a:cs typeface="+mj-cs"/>
            </a:endParaRPr>
          </a:p>
          <a:p>
            <a:pPr marL="0" lvl="0" indent="0" algn="l" rtl="0">
              <a:spcBef>
                <a:spcPts val="0"/>
              </a:spcBef>
              <a:spcAft>
                <a:spcPts val="0"/>
              </a:spcAft>
              <a:buNone/>
            </a:pPr>
            <a:endParaRPr dirty="0">
              <a:solidFill>
                <a:schemeClr val="tx1">
                  <a:lumMod val="50000"/>
                </a:schemeClr>
              </a:solidFill>
              <a:latin typeface="Times New Roman" panose="02020603050405020304" pitchFamily="18" charset="0"/>
              <a:cs typeface="+mj-cs"/>
            </a:endParaRPr>
          </a:p>
        </p:txBody>
      </p:sp>
      <p:grpSp>
        <p:nvGrpSpPr>
          <p:cNvPr id="559" name="Google Shape;559;p34"/>
          <p:cNvGrpSpPr/>
          <p:nvPr/>
        </p:nvGrpSpPr>
        <p:grpSpPr>
          <a:xfrm>
            <a:off x="350755" y="4018677"/>
            <a:ext cx="902056" cy="901976"/>
            <a:chOff x="4246593" y="503852"/>
            <a:chExt cx="902056" cy="901976"/>
          </a:xfrm>
        </p:grpSpPr>
        <p:grpSp>
          <p:nvGrpSpPr>
            <p:cNvPr id="560" name="Google Shape;560;p34"/>
            <p:cNvGrpSpPr/>
            <p:nvPr/>
          </p:nvGrpSpPr>
          <p:grpSpPr>
            <a:xfrm>
              <a:off x="4246593" y="503900"/>
              <a:ext cx="901831" cy="901928"/>
              <a:chOff x="5998919" y="3270921"/>
              <a:chExt cx="1426046" cy="1426198"/>
            </a:xfrm>
          </p:grpSpPr>
          <p:sp>
            <p:nvSpPr>
              <p:cNvPr id="561" name="Google Shape;561;p34"/>
              <p:cNvSpPr/>
              <p:nvPr/>
            </p:nvSpPr>
            <p:spPr>
              <a:xfrm>
                <a:off x="5998919" y="3270921"/>
                <a:ext cx="713137" cy="713137"/>
              </a:xfrm>
              <a:custGeom>
                <a:avLst/>
                <a:gdLst/>
                <a:ahLst/>
                <a:cxnLst/>
                <a:rect l="l" t="t" r="r" b="b"/>
                <a:pathLst>
                  <a:path w="713137" h="713137" extrusionOk="0">
                    <a:moveTo>
                      <a:pt x="713137" y="521407"/>
                    </a:moveTo>
                    <a:lnTo>
                      <a:pt x="713137" y="0"/>
                    </a:lnTo>
                    <a:cubicBezTo>
                      <a:pt x="319271" y="0"/>
                      <a:pt x="0" y="319271"/>
                      <a:pt x="0" y="713137"/>
                    </a:cubicBezTo>
                    <a:lnTo>
                      <a:pt x="521408" y="713137"/>
                    </a:lnTo>
                    <a:cubicBezTo>
                      <a:pt x="521408" y="607245"/>
                      <a:pt x="607245" y="521407"/>
                      <a:pt x="713137" y="52140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62" name="Google Shape;562;p34"/>
              <p:cNvSpPr/>
              <p:nvPr/>
            </p:nvSpPr>
            <p:spPr>
              <a:xfrm>
                <a:off x="5998919" y="3983982"/>
                <a:ext cx="1426046" cy="713137"/>
              </a:xfrm>
              <a:custGeom>
                <a:avLst/>
                <a:gdLst/>
                <a:ahLst/>
                <a:cxnLst/>
                <a:rect l="l" t="t" r="r" b="b"/>
                <a:pathLst>
                  <a:path w="1426046" h="713137" extrusionOk="0">
                    <a:moveTo>
                      <a:pt x="904715" y="5165"/>
                    </a:moveTo>
                    <a:cubicBezTo>
                      <a:pt x="901981" y="108702"/>
                      <a:pt x="817282" y="191730"/>
                      <a:pt x="713137" y="191730"/>
                    </a:cubicBezTo>
                    <a:cubicBezTo>
                      <a:pt x="607245" y="191730"/>
                      <a:pt x="521408" y="105892"/>
                      <a:pt x="521408" y="0"/>
                    </a:cubicBezTo>
                    <a:lnTo>
                      <a:pt x="0" y="0"/>
                    </a:lnTo>
                    <a:cubicBezTo>
                      <a:pt x="0" y="393866"/>
                      <a:pt x="319271" y="713137"/>
                      <a:pt x="713137" y="713137"/>
                    </a:cubicBezTo>
                    <a:cubicBezTo>
                      <a:pt x="1100623" y="713137"/>
                      <a:pt x="1415867" y="404121"/>
                      <a:pt x="1426047" y="19067"/>
                    </a:cubicBezTo>
                    <a:lnTo>
                      <a:pt x="904715" y="516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563" name="Google Shape;563;p34"/>
            <p:cNvSpPr/>
            <p:nvPr/>
          </p:nvSpPr>
          <p:spPr>
            <a:xfrm>
              <a:off x="4783305" y="636091"/>
              <a:ext cx="365344" cy="330991"/>
            </a:xfrm>
            <a:custGeom>
              <a:avLst/>
              <a:gdLst/>
              <a:ahLst/>
              <a:cxnLst/>
              <a:rect l="l" t="t" r="r" b="b"/>
              <a:pathLst>
                <a:path w="577619" h="523306" extrusionOk="0">
                  <a:moveTo>
                    <a:pt x="56213" y="504164"/>
                  </a:moveTo>
                  <a:cubicBezTo>
                    <a:pt x="56213" y="505911"/>
                    <a:pt x="56136" y="507582"/>
                    <a:pt x="56060" y="509329"/>
                  </a:cubicBezTo>
                  <a:lnTo>
                    <a:pt x="577392" y="523306"/>
                  </a:lnTo>
                  <a:cubicBezTo>
                    <a:pt x="577544" y="516926"/>
                    <a:pt x="577620" y="510621"/>
                    <a:pt x="577620" y="504240"/>
                  </a:cubicBezTo>
                  <a:cubicBezTo>
                    <a:pt x="577620" y="307345"/>
                    <a:pt x="497783" y="129060"/>
                    <a:pt x="368722" y="0"/>
                  </a:cubicBezTo>
                  <a:lnTo>
                    <a:pt x="0" y="368722"/>
                  </a:lnTo>
                  <a:cubicBezTo>
                    <a:pt x="34791" y="403286"/>
                    <a:pt x="56213" y="451218"/>
                    <a:pt x="56213" y="504164"/>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64" name="Google Shape;564;p34"/>
            <p:cNvSpPr/>
            <p:nvPr/>
          </p:nvSpPr>
          <p:spPr>
            <a:xfrm>
              <a:off x="4810784" y="788761"/>
              <a:ext cx="309659" cy="122566"/>
            </a:xfrm>
            <a:custGeom>
              <a:avLst/>
              <a:gdLst/>
              <a:ahLst/>
              <a:cxnLst/>
              <a:rect l="l" t="t" r="r" b="b"/>
              <a:pathLst>
                <a:path w="489579" h="193780" extrusionOk="0">
                  <a:moveTo>
                    <a:pt x="0" y="193781"/>
                  </a:moveTo>
                  <a:lnTo>
                    <a:pt x="48957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565" name="Google Shape;565;p34"/>
            <p:cNvGrpSpPr/>
            <p:nvPr/>
          </p:nvGrpSpPr>
          <p:grpSpPr>
            <a:xfrm>
              <a:off x="4246593" y="503852"/>
              <a:ext cx="901928" cy="901976"/>
              <a:chOff x="5998919" y="3270845"/>
              <a:chExt cx="1426198" cy="1426274"/>
            </a:xfrm>
          </p:grpSpPr>
          <p:sp>
            <p:nvSpPr>
              <p:cNvPr id="566" name="Google Shape;566;p34"/>
              <p:cNvSpPr/>
              <p:nvPr/>
            </p:nvSpPr>
            <p:spPr>
              <a:xfrm>
                <a:off x="6712056" y="3270845"/>
                <a:ext cx="504239" cy="577619"/>
              </a:xfrm>
              <a:custGeom>
                <a:avLst/>
                <a:gdLst/>
                <a:ahLst/>
                <a:cxnLst/>
                <a:rect l="l" t="t" r="r" b="b"/>
                <a:pathLst>
                  <a:path w="504239" h="577619" extrusionOk="0">
                    <a:moveTo>
                      <a:pt x="135518" y="577620"/>
                    </a:moveTo>
                    <a:lnTo>
                      <a:pt x="504240" y="208897"/>
                    </a:lnTo>
                    <a:cubicBezTo>
                      <a:pt x="375179" y="79837"/>
                      <a:pt x="196895" y="0"/>
                      <a:pt x="0" y="0"/>
                    </a:cubicBezTo>
                    <a:lnTo>
                      <a:pt x="0" y="521408"/>
                    </a:lnTo>
                    <a:cubicBezTo>
                      <a:pt x="52946" y="521483"/>
                      <a:pt x="100879" y="542905"/>
                      <a:pt x="135518" y="577620"/>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67" name="Google Shape;567;p34"/>
              <p:cNvSpPr/>
              <p:nvPr/>
            </p:nvSpPr>
            <p:spPr>
              <a:xfrm>
                <a:off x="6847498" y="3479895"/>
                <a:ext cx="577619" cy="523306"/>
              </a:xfrm>
              <a:custGeom>
                <a:avLst/>
                <a:gdLst/>
                <a:ahLst/>
                <a:cxnLst/>
                <a:rect l="l" t="t" r="r" b="b"/>
                <a:pathLst>
                  <a:path w="577619" h="523306" extrusionOk="0">
                    <a:moveTo>
                      <a:pt x="56213" y="504164"/>
                    </a:moveTo>
                    <a:cubicBezTo>
                      <a:pt x="56213" y="505911"/>
                      <a:pt x="56136" y="507582"/>
                      <a:pt x="56060" y="509329"/>
                    </a:cubicBezTo>
                    <a:lnTo>
                      <a:pt x="577392" y="523306"/>
                    </a:lnTo>
                    <a:cubicBezTo>
                      <a:pt x="577544" y="516926"/>
                      <a:pt x="577620" y="510621"/>
                      <a:pt x="577620" y="504240"/>
                    </a:cubicBezTo>
                    <a:cubicBezTo>
                      <a:pt x="577620" y="307345"/>
                      <a:pt x="497783" y="129060"/>
                      <a:pt x="368722" y="0"/>
                    </a:cubicBezTo>
                    <a:lnTo>
                      <a:pt x="0" y="368722"/>
                    </a:lnTo>
                    <a:cubicBezTo>
                      <a:pt x="34791" y="403286"/>
                      <a:pt x="56213" y="451218"/>
                      <a:pt x="56213" y="504164"/>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68" name="Google Shape;568;p34"/>
              <p:cNvSpPr/>
              <p:nvPr/>
            </p:nvSpPr>
            <p:spPr>
              <a:xfrm>
                <a:off x="5998919" y="3270845"/>
                <a:ext cx="1426046" cy="1426274"/>
              </a:xfrm>
              <a:custGeom>
                <a:avLst/>
                <a:gdLst/>
                <a:ahLst/>
                <a:cxnLst/>
                <a:rect l="l" t="t" r="r" b="b"/>
                <a:pathLst>
                  <a:path w="1426046" h="1426274" extrusionOk="0">
                    <a:moveTo>
                      <a:pt x="904715" y="718303"/>
                    </a:moveTo>
                    <a:cubicBezTo>
                      <a:pt x="901981" y="821840"/>
                      <a:pt x="817282" y="904867"/>
                      <a:pt x="713137" y="904867"/>
                    </a:cubicBezTo>
                    <a:cubicBezTo>
                      <a:pt x="607245" y="904867"/>
                      <a:pt x="521408" y="819029"/>
                      <a:pt x="521408" y="713137"/>
                    </a:cubicBezTo>
                    <a:cubicBezTo>
                      <a:pt x="521408" y="607245"/>
                      <a:pt x="607245" y="521408"/>
                      <a:pt x="713137" y="521408"/>
                    </a:cubicBezTo>
                    <a:lnTo>
                      <a:pt x="713137" y="0"/>
                    </a:lnTo>
                    <a:cubicBezTo>
                      <a:pt x="319271" y="0"/>
                      <a:pt x="0" y="319271"/>
                      <a:pt x="0" y="713137"/>
                    </a:cubicBezTo>
                    <a:cubicBezTo>
                      <a:pt x="0" y="1107003"/>
                      <a:pt x="319271" y="1426274"/>
                      <a:pt x="713137" y="1426274"/>
                    </a:cubicBezTo>
                    <a:cubicBezTo>
                      <a:pt x="1100623" y="1426274"/>
                      <a:pt x="1415867" y="1117258"/>
                      <a:pt x="1426047" y="732204"/>
                    </a:cubicBezTo>
                    <a:lnTo>
                      <a:pt x="904715" y="718303"/>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2662648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6 ( Crimes Over Days of the Week)</a:t>
            </a:r>
            <a:endParaRPr lang="en-US" dirty="0"/>
          </a:p>
        </p:txBody>
      </p:sp>
      <p:pic>
        <p:nvPicPr>
          <p:cNvPr id="5" name="Picture 4" descr="A graph of a week&#10;&#10;Description automatically generated with medium confidence">
            <a:extLst>
              <a:ext uri="{FF2B5EF4-FFF2-40B4-BE49-F238E27FC236}">
                <a16:creationId xmlns:a16="http://schemas.microsoft.com/office/drawing/2014/main" id="{9914FE72-1948-FE40-C4B9-66F5D212CA6B}"/>
              </a:ext>
            </a:extLst>
          </p:cNvPr>
          <p:cNvPicPr>
            <a:picLocks noChangeAspect="1"/>
          </p:cNvPicPr>
          <p:nvPr/>
        </p:nvPicPr>
        <p:blipFill>
          <a:blip r:embed="rId6"/>
          <a:stretch>
            <a:fillRect/>
          </a:stretch>
        </p:blipFill>
        <p:spPr>
          <a:xfrm>
            <a:off x="748800" y="765725"/>
            <a:ext cx="7804800" cy="4170690"/>
          </a:xfrm>
          <a:prstGeom prst="rect">
            <a:avLst/>
          </a:prstGeom>
        </p:spPr>
      </p:pic>
    </p:spTree>
    <p:extLst>
      <p:ext uri="{BB962C8B-B14F-4D97-AF65-F5344CB8AC3E}">
        <p14:creationId xmlns:p14="http://schemas.microsoft.com/office/powerpoint/2010/main" val="358631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162848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Figure 7 ( Crimes Over Years )</a:t>
            </a:r>
            <a:endParaRPr lang="en-US" dirty="0"/>
          </a:p>
        </p:txBody>
      </p:sp>
      <p:pic>
        <p:nvPicPr>
          <p:cNvPr id="5" name="Picture 4" descr="A graph showing a line&#10;&#10;Description automatically generated with medium confidence">
            <a:extLst>
              <a:ext uri="{FF2B5EF4-FFF2-40B4-BE49-F238E27FC236}">
                <a16:creationId xmlns:a16="http://schemas.microsoft.com/office/drawing/2014/main" id="{6518C20D-1A52-1725-7D04-68141A9FC2F0}"/>
              </a:ext>
            </a:extLst>
          </p:cNvPr>
          <p:cNvPicPr>
            <a:picLocks noChangeAspect="1"/>
          </p:cNvPicPr>
          <p:nvPr/>
        </p:nvPicPr>
        <p:blipFill>
          <a:blip r:embed="rId6"/>
          <a:stretch>
            <a:fillRect/>
          </a:stretch>
        </p:blipFill>
        <p:spPr>
          <a:xfrm>
            <a:off x="572400" y="765725"/>
            <a:ext cx="7999200" cy="4249575"/>
          </a:xfrm>
          <a:prstGeom prst="rect">
            <a:avLst/>
          </a:prstGeom>
        </p:spPr>
      </p:pic>
    </p:spTree>
    <p:extLst>
      <p:ext uri="{BB962C8B-B14F-4D97-AF65-F5344CB8AC3E}">
        <p14:creationId xmlns:p14="http://schemas.microsoft.com/office/powerpoint/2010/main" val="235163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7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8A12C2-3ABB-8889-8B1D-BDA9D9203A4D}"/>
              </a:ext>
            </a:extLst>
          </p:cNvPr>
          <p:cNvGraphicFramePr>
            <a:graphicFrameLocks noChangeAspect="1"/>
          </p:cNvGraphicFramePr>
          <p:nvPr>
            <p:custDataLst>
              <p:tags r:id="rId1"/>
            </p:custDataLst>
            <p:extLst>
              <p:ext uri="{D42A27DB-BD31-4B8C-83A1-F6EECF244321}">
                <p14:modId xmlns:p14="http://schemas.microsoft.com/office/powerpoint/2010/main" val="3925038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CE8A12C2-3ABB-8889-8B1D-BDA9D9203A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4" name="Google Shape;574;p35"/>
          <p:cNvSpPr txBox="1">
            <a:spLocks noGrp="1"/>
          </p:cNvSpPr>
          <p:nvPr>
            <p:ph type="title"/>
          </p:nvPr>
        </p:nvSpPr>
        <p:spPr>
          <a:xfrm>
            <a:off x="2946160" y="1798299"/>
            <a:ext cx="4150500" cy="691502"/>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br>
              <a:rPr lang="en-US" dirty="0"/>
            </a:br>
            <a:br>
              <a:rPr lang="en-US" dirty="0"/>
            </a:br>
            <a:br>
              <a:rPr lang="en-US" dirty="0"/>
            </a:br>
            <a:br>
              <a:rPr lang="en-US" dirty="0"/>
            </a:br>
            <a:br>
              <a:rPr lang="en-US" dirty="0"/>
            </a:br>
            <a:br>
              <a:rPr lang="en-US" dirty="0"/>
            </a:br>
            <a:br>
              <a:rPr lang="en-US" dirty="0"/>
            </a:br>
            <a:br>
              <a:rPr lang="en-US" dirty="0"/>
            </a:br>
            <a:r>
              <a:rPr lang="en-US" dirty="0"/>
              <a:t>Conclusion</a:t>
            </a:r>
          </a:p>
        </p:txBody>
      </p:sp>
      <p:sp>
        <p:nvSpPr>
          <p:cNvPr id="575" name="Google Shape;575;p35"/>
          <p:cNvSpPr txBox="1">
            <a:spLocks noGrp="1"/>
          </p:cNvSpPr>
          <p:nvPr>
            <p:ph type="title" idx="2"/>
          </p:nvPr>
        </p:nvSpPr>
        <p:spPr>
          <a:xfrm>
            <a:off x="1475300" y="1690000"/>
            <a:ext cx="1294500" cy="90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4.</a:t>
            </a:r>
            <a:endParaRPr dirty="0"/>
          </a:p>
        </p:txBody>
      </p:sp>
      <p:grpSp>
        <p:nvGrpSpPr>
          <p:cNvPr id="576" name="Google Shape;576;p35"/>
          <p:cNvGrpSpPr/>
          <p:nvPr/>
        </p:nvGrpSpPr>
        <p:grpSpPr>
          <a:xfrm>
            <a:off x="7783346" y="490666"/>
            <a:ext cx="901968" cy="901968"/>
            <a:chOff x="1350404" y="-3124999"/>
            <a:chExt cx="1570279" cy="1570279"/>
          </a:xfrm>
        </p:grpSpPr>
        <p:sp>
          <p:nvSpPr>
            <p:cNvPr id="577" name="Google Shape;577;p35"/>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8" name="Google Shape;578;p35"/>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9" name="Google Shape;579;p35"/>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0" name="Google Shape;580;p35"/>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581" name="Google Shape;581;p35"/>
          <p:cNvGrpSpPr/>
          <p:nvPr/>
        </p:nvGrpSpPr>
        <p:grpSpPr>
          <a:xfrm>
            <a:off x="713029" y="3447254"/>
            <a:ext cx="1266652" cy="1056012"/>
            <a:chOff x="5378191" y="1701500"/>
            <a:chExt cx="611171" cy="509535"/>
          </a:xfrm>
        </p:grpSpPr>
        <p:sp>
          <p:nvSpPr>
            <p:cNvPr id="582" name="Google Shape;582;p35"/>
            <p:cNvSpPr/>
            <p:nvPr/>
          </p:nvSpPr>
          <p:spPr>
            <a:xfrm>
              <a:off x="5378191" y="1701500"/>
              <a:ext cx="611171" cy="509535"/>
            </a:xfrm>
            <a:custGeom>
              <a:avLst/>
              <a:gdLst/>
              <a:ahLst/>
              <a:cxnLst/>
              <a:rect l="l" t="t" r="r" b="b"/>
              <a:pathLst>
                <a:path w="1266676" h="1056032" extrusionOk="0">
                  <a:moveTo>
                    <a:pt x="1101761" y="1056032"/>
                  </a:moveTo>
                  <a:lnTo>
                    <a:pt x="164915" y="1056032"/>
                  </a:lnTo>
                  <a:cubicBezTo>
                    <a:pt x="73835" y="1056032"/>
                    <a:pt x="0" y="982197"/>
                    <a:pt x="0" y="891118"/>
                  </a:cubicBezTo>
                  <a:lnTo>
                    <a:pt x="0" y="164915"/>
                  </a:lnTo>
                  <a:cubicBezTo>
                    <a:pt x="0" y="73836"/>
                    <a:pt x="73835" y="0"/>
                    <a:pt x="164915" y="0"/>
                  </a:cubicBezTo>
                  <a:lnTo>
                    <a:pt x="1101761" y="0"/>
                  </a:lnTo>
                  <a:cubicBezTo>
                    <a:pt x="1192841" y="0"/>
                    <a:pt x="1266677" y="73836"/>
                    <a:pt x="1266677" y="164915"/>
                  </a:cubicBezTo>
                  <a:lnTo>
                    <a:pt x="1266677" y="891118"/>
                  </a:lnTo>
                  <a:cubicBezTo>
                    <a:pt x="1266677" y="982197"/>
                    <a:pt x="1192841" y="1056032"/>
                    <a:pt x="1101761" y="105603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3" name="Google Shape;583;p35"/>
            <p:cNvSpPr/>
            <p:nvPr/>
          </p:nvSpPr>
          <p:spPr>
            <a:xfrm>
              <a:off x="5497928" y="1776815"/>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4" name="Google Shape;584;p35"/>
            <p:cNvSpPr/>
            <p:nvPr/>
          </p:nvSpPr>
          <p:spPr>
            <a:xfrm>
              <a:off x="5608451" y="1776815"/>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5" name="Google Shape;585;p35"/>
            <p:cNvSpPr/>
            <p:nvPr/>
          </p:nvSpPr>
          <p:spPr>
            <a:xfrm>
              <a:off x="571901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6" name="Google Shape;586;p35"/>
            <p:cNvSpPr/>
            <p:nvPr/>
          </p:nvSpPr>
          <p:spPr>
            <a:xfrm>
              <a:off x="582957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7" name="Google Shape;587;p35"/>
            <p:cNvSpPr/>
            <p:nvPr/>
          </p:nvSpPr>
          <p:spPr>
            <a:xfrm>
              <a:off x="5497928" y="1882549"/>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8" name="Google Shape;588;p35"/>
            <p:cNvSpPr/>
            <p:nvPr/>
          </p:nvSpPr>
          <p:spPr>
            <a:xfrm>
              <a:off x="5608451" y="1882549"/>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9" name="Google Shape;589;p35"/>
            <p:cNvSpPr/>
            <p:nvPr/>
          </p:nvSpPr>
          <p:spPr>
            <a:xfrm>
              <a:off x="571901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0" name="Google Shape;590;p35"/>
            <p:cNvSpPr/>
            <p:nvPr/>
          </p:nvSpPr>
          <p:spPr>
            <a:xfrm>
              <a:off x="582957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1" name="Google Shape;591;p35"/>
            <p:cNvSpPr/>
            <p:nvPr/>
          </p:nvSpPr>
          <p:spPr>
            <a:xfrm>
              <a:off x="5497928" y="198832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2" name="Google Shape;592;p35"/>
            <p:cNvSpPr/>
            <p:nvPr/>
          </p:nvSpPr>
          <p:spPr>
            <a:xfrm>
              <a:off x="5608451" y="198832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3" name="Google Shape;593;p35"/>
            <p:cNvSpPr/>
            <p:nvPr/>
          </p:nvSpPr>
          <p:spPr>
            <a:xfrm>
              <a:off x="571901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4" name="Google Shape;594;p35"/>
            <p:cNvSpPr/>
            <p:nvPr/>
          </p:nvSpPr>
          <p:spPr>
            <a:xfrm>
              <a:off x="582957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5" name="Google Shape;595;p35"/>
            <p:cNvSpPr/>
            <p:nvPr/>
          </p:nvSpPr>
          <p:spPr>
            <a:xfrm>
              <a:off x="5497928" y="209409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6" name="Google Shape;596;p35"/>
            <p:cNvSpPr/>
            <p:nvPr/>
          </p:nvSpPr>
          <p:spPr>
            <a:xfrm>
              <a:off x="5608451" y="209409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7" name="Google Shape;597;p35"/>
            <p:cNvSpPr/>
            <p:nvPr/>
          </p:nvSpPr>
          <p:spPr>
            <a:xfrm>
              <a:off x="571901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8" name="Google Shape;598;p35"/>
            <p:cNvSpPr/>
            <p:nvPr/>
          </p:nvSpPr>
          <p:spPr>
            <a:xfrm>
              <a:off x="582957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Tree>
    <p:extLst>
      <p:ext uri="{BB962C8B-B14F-4D97-AF65-F5344CB8AC3E}">
        <p14:creationId xmlns:p14="http://schemas.microsoft.com/office/powerpoint/2010/main" val="6440754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9FBE3DD-F380-FC1A-C48E-E36A6ED249BF}"/>
              </a:ext>
            </a:extLst>
          </p:cNvPr>
          <p:cNvGraphicFramePr>
            <a:graphicFrameLocks noChangeAspect="1"/>
          </p:cNvGraphicFramePr>
          <p:nvPr>
            <p:custDataLst>
              <p:tags r:id="rId1"/>
            </p:custDataLst>
            <p:extLst>
              <p:ext uri="{D42A27DB-BD31-4B8C-83A1-F6EECF244321}">
                <p14:modId xmlns:p14="http://schemas.microsoft.com/office/powerpoint/2010/main" val="201696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3" name="Google Shape;483;p32"/>
          <p:cNvSpPr txBox="1">
            <a:spLocks noGrp="1"/>
          </p:cNvSpPr>
          <p:nvPr>
            <p:ph type="title"/>
          </p:nvPr>
        </p:nvSpPr>
        <p:spPr>
          <a:xfrm>
            <a:off x="401349" y="41345"/>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Conclusion</a:t>
            </a:r>
            <a:endParaRPr dirty="0"/>
          </a:p>
        </p:txBody>
      </p:sp>
      <p:grpSp>
        <p:nvGrpSpPr>
          <p:cNvPr id="488" name="Google Shape;488;p32"/>
          <p:cNvGrpSpPr/>
          <p:nvPr/>
        </p:nvGrpSpPr>
        <p:grpSpPr>
          <a:xfrm>
            <a:off x="8105349" y="4148721"/>
            <a:ext cx="1099092" cy="1238854"/>
            <a:chOff x="2594603" y="2081903"/>
            <a:chExt cx="871327" cy="982126"/>
          </a:xfrm>
        </p:grpSpPr>
        <p:sp>
          <p:nvSpPr>
            <p:cNvPr id="489" name="Google Shape;489;p32"/>
            <p:cNvSpPr/>
            <p:nvPr/>
          </p:nvSpPr>
          <p:spPr>
            <a:xfrm>
              <a:off x="3157347" y="2358046"/>
              <a:ext cx="186375" cy="36542"/>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0" name="Google Shape;490;p32"/>
            <p:cNvSpPr/>
            <p:nvPr/>
          </p:nvSpPr>
          <p:spPr>
            <a:xfrm>
              <a:off x="3076913" y="2815020"/>
              <a:ext cx="186375" cy="36542"/>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1" name="Google Shape;491;p32"/>
            <p:cNvSpPr/>
            <p:nvPr/>
          </p:nvSpPr>
          <p:spPr>
            <a:xfrm>
              <a:off x="3157347" y="2430693"/>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2" name="Google Shape;492;p32"/>
            <p:cNvSpPr/>
            <p:nvPr/>
          </p:nvSpPr>
          <p:spPr>
            <a:xfrm>
              <a:off x="3157347" y="2455005"/>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3" name="Google Shape;493;p32"/>
            <p:cNvSpPr/>
            <p:nvPr/>
          </p:nvSpPr>
          <p:spPr>
            <a:xfrm>
              <a:off x="3157347" y="2479318"/>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4" name="Google Shape;494;p32"/>
            <p:cNvSpPr/>
            <p:nvPr/>
          </p:nvSpPr>
          <p:spPr>
            <a:xfrm>
              <a:off x="3143746" y="2888800"/>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5" name="Google Shape;495;p32"/>
            <p:cNvSpPr/>
            <p:nvPr/>
          </p:nvSpPr>
          <p:spPr>
            <a:xfrm>
              <a:off x="3143746" y="2913076"/>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6" name="Google Shape;496;p32"/>
            <p:cNvSpPr/>
            <p:nvPr/>
          </p:nvSpPr>
          <p:spPr>
            <a:xfrm>
              <a:off x="3143746" y="2937389"/>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7" name="Google Shape;497;p32"/>
            <p:cNvSpPr/>
            <p:nvPr/>
          </p:nvSpPr>
          <p:spPr>
            <a:xfrm>
              <a:off x="2594639" y="2081903"/>
              <a:ext cx="871290" cy="982126"/>
            </a:xfrm>
            <a:custGeom>
              <a:avLst/>
              <a:gdLst/>
              <a:ahLst/>
              <a:cxnLst/>
              <a:rect l="l" t="t" r="r" b="b"/>
              <a:pathLst>
                <a:path w="1805783" h="2035494" extrusionOk="0">
                  <a:moveTo>
                    <a:pt x="1634108" y="2035494"/>
                  </a:moveTo>
                  <a:lnTo>
                    <a:pt x="171600" y="2035494"/>
                  </a:lnTo>
                  <a:cubicBezTo>
                    <a:pt x="76798" y="2035494"/>
                    <a:pt x="0" y="1958620"/>
                    <a:pt x="0" y="1863895"/>
                  </a:cubicBezTo>
                  <a:lnTo>
                    <a:pt x="0" y="171600"/>
                  </a:lnTo>
                  <a:cubicBezTo>
                    <a:pt x="-76" y="76874"/>
                    <a:pt x="76798" y="0"/>
                    <a:pt x="171600" y="0"/>
                  </a:cubicBezTo>
                  <a:lnTo>
                    <a:pt x="1634184" y="0"/>
                  </a:lnTo>
                  <a:cubicBezTo>
                    <a:pt x="1728985" y="0"/>
                    <a:pt x="1805783" y="76874"/>
                    <a:pt x="1805783" y="171600"/>
                  </a:cubicBezTo>
                  <a:lnTo>
                    <a:pt x="1805783" y="1863819"/>
                  </a:lnTo>
                  <a:cubicBezTo>
                    <a:pt x="1805783" y="1958620"/>
                    <a:pt x="1728909" y="2035494"/>
                    <a:pt x="1634108" y="2035494"/>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8" name="Google Shape;498;p32"/>
            <p:cNvSpPr/>
            <p:nvPr/>
          </p:nvSpPr>
          <p:spPr>
            <a:xfrm>
              <a:off x="2594603" y="2323895"/>
              <a:ext cx="871290" cy="645078"/>
            </a:xfrm>
            <a:custGeom>
              <a:avLst/>
              <a:gdLst/>
              <a:ahLst/>
              <a:cxnLst/>
              <a:rect l="l" t="t" r="r" b="b"/>
              <a:pathLst>
                <a:path w="1805783" h="1336949" extrusionOk="0">
                  <a:moveTo>
                    <a:pt x="0" y="548154"/>
                  </a:moveTo>
                  <a:lnTo>
                    <a:pt x="205479" y="891277"/>
                  </a:lnTo>
                  <a:cubicBezTo>
                    <a:pt x="221507" y="918092"/>
                    <a:pt x="261615" y="913838"/>
                    <a:pt x="271642" y="884213"/>
                  </a:cubicBezTo>
                  <a:lnTo>
                    <a:pt x="550349" y="60854"/>
                  </a:lnTo>
                  <a:cubicBezTo>
                    <a:pt x="560832" y="29861"/>
                    <a:pt x="603523" y="27050"/>
                    <a:pt x="617956" y="56372"/>
                  </a:cubicBezTo>
                  <a:lnTo>
                    <a:pt x="729545" y="282893"/>
                  </a:lnTo>
                  <a:cubicBezTo>
                    <a:pt x="743522" y="311227"/>
                    <a:pt x="784466" y="309783"/>
                    <a:pt x="796392" y="280538"/>
                  </a:cubicBezTo>
                  <a:lnTo>
                    <a:pt x="901676" y="22797"/>
                  </a:lnTo>
                  <a:cubicBezTo>
                    <a:pt x="914362" y="-8272"/>
                    <a:pt x="958648" y="-7361"/>
                    <a:pt x="970119" y="24164"/>
                  </a:cubicBezTo>
                  <a:lnTo>
                    <a:pt x="1271918" y="857930"/>
                  </a:lnTo>
                  <a:cubicBezTo>
                    <a:pt x="1283844" y="890822"/>
                    <a:pt x="1330713" y="889910"/>
                    <a:pt x="1341348" y="856562"/>
                  </a:cubicBezTo>
                  <a:lnTo>
                    <a:pt x="1388065" y="709954"/>
                  </a:lnTo>
                  <a:cubicBezTo>
                    <a:pt x="1398776" y="676227"/>
                    <a:pt x="1446404" y="675771"/>
                    <a:pt x="1457723" y="709347"/>
                  </a:cubicBezTo>
                  <a:lnTo>
                    <a:pt x="1551916" y="987066"/>
                  </a:lnTo>
                  <a:cubicBezTo>
                    <a:pt x="1562703" y="1018818"/>
                    <a:pt x="1606989" y="1020642"/>
                    <a:pt x="1620283" y="989877"/>
                  </a:cubicBezTo>
                  <a:lnTo>
                    <a:pt x="1620283" y="989877"/>
                  </a:lnTo>
                  <a:cubicBezTo>
                    <a:pt x="1633576" y="959112"/>
                    <a:pt x="1677862" y="960859"/>
                    <a:pt x="1688649" y="992611"/>
                  </a:cubicBezTo>
                  <a:lnTo>
                    <a:pt x="1805783" y="133695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9" name="Google Shape;499;p32"/>
            <p:cNvSpPr/>
            <p:nvPr/>
          </p:nvSpPr>
          <p:spPr>
            <a:xfrm>
              <a:off x="3054464" y="2358046"/>
              <a:ext cx="49260" cy="49260"/>
            </a:xfrm>
            <a:custGeom>
              <a:avLst/>
              <a:gdLst/>
              <a:ahLst/>
              <a:cxnLst/>
              <a:rect l="l" t="t" r="r" b="b"/>
              <a:pathLst>
                <a:path w="102093" h="102093" extrusionOk="0">
                  <a:moveTo>
                    <a:pt x="102094" y="51047"/>
                  </a:moveTo>
                  <a:cubicBezTo>
                    <a:pt x="102094" y="79229"/>
                    <a:pt x="79229" y="102094"/>
                    <a:pt x="51047" y="102094"/>
                  </a:cubicBezTo>
                  <a:cubicBezTo>
                    <a:pt x="22865" y="102094"/>
                    <a:pt x="0" y="79229"/>
                    <a:pt x="0" y="51047"/>
                  </a:cubicBezTo>
                  <a:cubicBezTo>
                    <a:pt x="0" y="22865"/>
                    <a:pt x="22865" y="0"/>
                    <a:pt x="51047" y="0"/>
                  </a:cubicBezTo>
                  <a:cubicBezTo>
                    <a:pt x="79229" y="0"/>
                    <a:pt x="102094" y="22865"/>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0" name="Google Shape;500;p32"/>
            <p:cNvSpPr/>
            <p:nvPr/>
          </p:nvSpPr>
          <p:spPr>
            <a:xfrm>
              <a:off x="3306807" y="2724970"/>
              <a:ext cx="49260" cy="49260"/>
            </a:xfrm>
            <a:custGeom>
              <a:avLst/>
              <a:gdLst/>
              <a:ahLst/>
              <a:cxnLst/>
              <a:rect l="l" t="t" r="r" b="b"/>
              <a:pathLst>
                <a:path w="102093" h="102093" extrusionOk="0">
                  <a:moveTo>
                    <a:pt x="102094" y="51047"/>
                  </a:moveTo>
                  <a:cubicBezTo>
                    <a:pt x="102094" y="79239"/>
                    <a:pt x="79239" y="102094"/>
                    <a:pt x="51047" y="102094"/>
                  </a:cubicBezTo>
                  <a:cubicBezTo>
                    <a:pt x="22855" y="102094"/>
                    <a:pt x="0" y="79239"/>
                    <a:pt x="0" y="51047"/>
                  </a:cubicBezTo>
                  <a:cubicBezTo>
                    <a:pt x="0" y="22855"/>
                    <a:pt x="22855" y="0"/>
                    <a:pt x="51047" y="0"/>
                  </a:cubicBezTo>
                  <a:cubicBezTo>
                    <a:pt x="79239" y="0"/>
                    <a:pt x="102094" y="22855"/>
                    <a:pt x="102094" y="51047"/>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1" name="Google Shape;501;p32"/>
            <p:cNvSpPr/>
            <p:nvPr/>
          </p:nvSpPr>
          <p:spPr>
            <a:xfrm>
              <a:off x="2734813" y="2455008"/>
              <a:ext cx="342916" cy="205028"/>
            </a:xfrm>
            <a:custGeom>
              <a:avLst/>
              <a:gdLst/>
              <a:ahLst/>
              <a:cxnLst/>
              <a:rect l="l" t="t" r="r" b="b"/>
              <a:pathLst>
                <a:path w="710706" h="424928" extrusionOk="0">
                  <a:moveTo>
                    <a:pt x="672269" y="6831"/>
                  </a:moveTo>
                  <a:lnTo>
                    <a:pt x="596762" y="84161"/>
                  </a:lnTo>
                  <a:lnTo>
                    <a:pt x="54085" y="84161"/>
                  </a:lnTo>
                  <a:cubicBezTo>
                    <a:pt x="24232" y="84161"/>
                    <a:pt x="0" y="108393"/>
                    <a:pt x="0" y="138246"/>
                  </a:cubicBezTo>
                  <a:lnTo>
                    <a:pt x="0" y="370843"/>
                  </a:lnTo>
                  <a:cubicBezTo>
                    <a:pt x="0" y="400697"/>
                    <a:pt x="24232" y="424929"/>
                    <a:pt x="54085" y="424929"/>
                  </a:cubicBezTo>
                  <a:lnTo>
                    <a:pt x="656621" y="424929"/>
                  </a:lnTo>
                  <a:cubicBezTo>
                    <a:pt x="686474" y="424929"/>
                    <a:pt x="710706" y="400697"/>
                    <a:pt x="710706" y="370843"/>
                  </a:cubicBezTo>
                  <a:lnTo>
                    <a:pt x="710706" y="84161"/>
                  </a:lnTo>
                  <a:lnTo>
                    <a:pt x="710706" y="22555"/>
                  </a:lnTo>
                  <a:cubicBezTo>
                    <a:pt x="710782" y="2349"/>
                    <a:pt x="686322" y="-7602"/>
                    <a:pt x="672269" y="68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2" name="Google Shape;502;p32"/>
            <p:cNvSpPr/>
            <p:nvPr/>
          </p:nvSpPr>
          <p:spPr>
            <a:xfrm>
              <a:off x="2594603" y="2143434"/>
              <a:ext cx="871327" cy="3665"/>
            </a:xfrm>
            <a:custGeom>
              <a:avLst/>
              <a:gdLst/>
              <a:ahLst/>
              <a:cxnLst/>
              <a:rect l="l" t="t" r="r" b="b"/>
              <a:pathLst>
                <a:path w="1805859" h="7596" extrusionOk="0">
                  <a:moveTo>
                    <a:pt x="0" y="0"/>
                  </a:moveTo>
                  <a:lnTo>
                    <a:pt x="180585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503" name="Google Shape;503;p32"/>
          <p:cNvGrpSpPr/>
          <p:nvPr/>
        </p:nvGrpSpPr>
        <p:grpSpPr>
          <a:xfrm>
            <a:off x="-262423" y="4603993"/>
            <a:ext cx="988875" cy="824428"/>
            <a:chOff x="5378191" y="1701500"/>
            <a:chExt cx="611171" cy="509535"/>
          </a:xfrm>
        </p:grpSpPr>
        <p:sp>
          <p:nvSpPr>
            <p:cNvPr id="504" name="Google Shape;504;p32"/>
            <p:cNvSpPr/>
            <p:nvPr/>
          </p:nvSpPr>
          <p:spPr>
            <a:xfrm>
              <a:off x="5378191" y="1701500"/>
              <a:ext cx="611171" cy="509535"/>
            </a:xfrm>
            <a:custGeom>
              <a:avLst/>
              <a:gdLst/>
              <a:ahLst/>
              <a:cxnLst/>
              <a:rect l="l" t="t" r="r" b="b"/>
              <a:pathLst>
                <a:path w="1266676" h="1056032" extrusionOk="0">
                  <a:moveTo>
                    <a:pt x="1101761" y="1056032"/>
                  </a:moveTo>
                  <a:lnTo>
                    <a:pt x="164915" y="1056032"/>
                  </a:lnTo>
                  <a:cubicBezTo>
                    <a:pt x="73835" y="1056032"/>
                    <a:pt x="0" y="982197"/>
                    <a:pt x="0" y="891118"/>
                  </a:cubicBezTo>
                  <a:lnTo>
                    <a:pt x="0" y="164915"/>
                  </a:lnTo>
                  <a:cubicBezTo>
                    <a:pt x="0" y="73836"/>
                    <a:pt x="73835" y="0"/>
                    <a:pt x="164915" y="0"/>
                  </a:cubicBezTo>
                  <a:lnTo>
                    <a:pt x="1101761" y="0"/>
                  </a:lnTo>
                  <a:cubicBezTo>
                    <a:pt x="1192841" y="0"/>
                    <a:pt x="1266677" y="73836"/>
                    <a:pt x="1266677" y="164915"/>
                  </a:cubicBezTo>
                  <a:lnTo>
                    <a:pt x="1266677" y="891118"/>
                  </a:lnTo>
                  <a:cubicBezTo>
                    <a:pt x="1266677" y="982197"/>
                    <a:pt x="1192841" y="1056032"/>
                    <a:pt x="1101761" y="105603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5" name="Google Shape;505;p32"/>
            <p:cNvSpPr/>
            <p:nvPr/>
          </p:nvSpPr>
          <p:spPr>
            <a:xfrm>
              <a:off x="5497928" y="1776815"/>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6" name="Google Shape;506;p32"/>
            <p:cNvSpPr/>
            <p:nvPr/>
          </p:nvSpPr>
          <p:spPr>
            <a:xfrm>
              <a:off x="5608451" y="1776815"/>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7" name="Google Shape;507;p32"/>
            <p:cNvSpPr/>
            <p:nvPr/>
          </p:nvSpPr>
          <p:spPr>
            <a:xfrm>
              <a:off x="571901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8" name="Google Shape;508;p32"/>
            <p:cNvSpPr/>
            <p:nvPr/>
          </p:nvSpPr>
          <p:spPr>
            <a:xfrm>
              <a:off x="582957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9" name="Google Shape;509;p32"/>
            <p:cNvSpPr/>
            <p:nvPr/>
          </p:nvSpPr>
          <p:spPr>
            <a:xfrm>
              <a:off x="5497928" y="1882549"/>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0" name="Google Shape;510;p32"/>
            <p:cNvSpPr/>
            <p:nvPr/>
          </p:nvSpPr>
          <p:spPr>
            <a:xfrm>
              <a:off x="5608451" y="1882549"/>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1" name="Google Shape;511;p32"/>
            <p:cNvSpPr/>
            <p:nvPr/>
          </p:nvSpPr>
          <p:spPr>
            <a:xfrm>
              <a:off x="571901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2" name="Google Shape;512;p32"/>
            <p:cNvSpPr/>
            <p:nvPr/>
          </p:nvSpPr>
          <p:spPr>
            <a:xfrm>
              <a:off x="582957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3" name="Google Shape;513;p32"/>
            <p:cNvSpPr/>
            <p:nvPr/>
          </p:nvSpPr>
          <p:spPr>
            <a:xfrm>
              <a:off x="5497928" y="198832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4" name="Google Shape;514;p32"/>
            <p:cNvSpPr/>
            <p:nvPr/>
          </p:nvSpPr>
          <p:spPr>
            <a:xfrm>
              <a:off x="5608451" y="198832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5" name="Google Shape;515;p32"/>
            <p:cNvSpPr/>
            <p:nvPr/>
          </p:nvSpPr>
          <p:spPr>
            <a:xfrm>
              <a:off x="571901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6" name="Google Shape;516;p32"/>
            <p:cNvSpPr/>
            <p:nvPr/>
          </p:nvSpPr>
          <p:spPr>
            <a:xfrm>
              <a:off x="582957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7" name="Google Shape;517;p32"/>
            <p:cNvSpPr/>
            <p:nvPr/>
          </p:nvSpPr>
          <p:spPr>
            <a:xfrm>
              <a:off x="5497928" y="209409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8" name="Google Shape;518;p32"/>
            <p:cNvSpPr/>
            <p:nvPr/>
          </p:nvSpPr>
          <p:spPr>
            <a:xfrm>
              <a:off x="5608451" y="209409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9" name="Google Shape;519;p32"/>
            <p:cNvSpPr/>
            <p:nvPr/>
          </p:nvSpPr>
          <p:spPr>
            <a:xfrm>
              <a:off x="571901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20" name="Google Shape;520;p32"/>
            <p:cNvSpPr/>
            <p:nvPr/>
          </p:nvSpPr>
          <p:spPr>
            <a:xfrm>
              <a:off x="582957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5" name="Text Placeholder 4">
            <a:extLst>
              <a:ext uri="{FF2B5EF4-FFF2-40B4-BE49-F238E27FC236}">
                <a16:creationId xmlns:a16="http://schemas.microsoft.com/office/drawing/2014/main" id="{48BC84ED-F69D-3031-932B-C3E45DC63F28}"/>
              </a:ext>
            </a:extLst>
          </p:cNvPr>
          <p:cNvSpPr>
            <a:spLocks noGrp="1"/>
          </p:cNvSpPr>
          <p:nvPr>
            <p:ph type="body" idx="1"/>
          </p:nvPr>
        </p:nvSpPr>
        <p:spPr>
          <a:xfrm>
            <a:off x="344887" y="837056"/>
            <a:ext cx="7704000" cy="422700"/>
          </a:xfrm>
        </p:spPr>
        <p:txBody>
          <a:bodyPr/>
          <a:lstStyle/>
          <a:p>
            <a:pPr algn="just"/>
            <a:r>
              <a:rPr lang="en-US" sz="1800" kern="100" dirty="0">
                <a:solidFill>
                  <a:schemeClr val="bg2">
                    <a:lumMod val="10000"/>
                  </a:schemeClr>
                </a:solidFill>
                <a:effectLst/>
                <a:latin typeface="Aptos" panose="020B0004020202020204" pitchFamily="34" charset="0"/>
                <a:ea typeface="Aptos" panose="020B0004020202020204" pitchFamily="34" charset="0"/>
                <a:cs typeface="Arial" panose="020B0604020202020204" pitchFamily="34" charset="0"/>
              </a:rPr>
              <a:t>This project showcases the importance of data-driven approaches in addressing the challenges of crime prevention and community safety. </a:t>
            </a:r>
          </a:p>
          <a:p>
            <a:pPr marL="114300" indent="0" algn="just">
              <a:buNone/>
            </a:pPr>
            <a:endParaRPr lang="en-US" sz="1800" kern="100" dirty="0">
              <a:solidFill>
                <a:schemeClr val="bg2">
                  <a:lumMod val="10000"/>
                </a:schemeClr>
              </a:solidFill>
              <a:effectLst/>
              <a:latin typeface="Aptos" panose="020B0004020202020204" pitchFamily="34" charset="0"/>
              <a:ea typeface="Aptos" panose="020B0004020202020204" pitchFamily="34" charset="0"/>
              <a:cs typeface="Arial" panose="020B0604020202020204" pitchFamily="34" charset="0"/>
            </a:endParaRPr>
          </a:p>
          <a:p>
            <a:pPr algn="just"/>
            <a:r>
              <a:rPr lang="en-US" sz="1800" kern="100" dirty="0">
                <a:solidFill>
                  <a:schemeClr val="bg2">
                    <a:lumMod val="10000"/>
                  </a:schemeClr>
                </a:solidFill>
                <a:effectLst/>
                <a:latin typeface="Aptos" panose="020B0004020202020204" pitchFamily="34" charset="0"/>
                <a:ea typeface="Aptos" panose="020B0004020202020204" pitchFamily="34" charset="0"/>
                <a:cs typeface="Arial" panose="020B0604020202020204" pitchFamily="34" charset="0"/>
              </a:rPr>
              <a:t>By analyzing Boston's crime data, we have identified crucial patterns and trends that can inform police strategies, optimize resource deployment, and improve public safety outcomes.</a:t>
            </a:r>
          </a:p>
          <a:p>
            <a:pPr algn="just"/>
            <a:endParaRPr lang="en-US" sz="1800" kern="100" dirty="0">
              <a:solidFill>
                <a:schemeClr val="bg2">
                  <a:lumMod val="10000"/>
                </a:schemeClr>
              </a:solidFill>
              <a:effectLst/>
              <a:latin typeface="Aptos" panose="020B0004020202020204" pitchFamily="34" charset="0"/>
              <a:ea typeface="Aptos" panose="020B0004020202020204" pitchFamily="34" charset="0"/>
              <a:cs typeface="Arial" panose="020B0604020202020204" pitchFamily="34" charset="0"/>
            </a:endParaRPr>
          </a:p>
          <a:p>
            <a:pPr algn="just"/>
            <a:r>
              <a:rPr lang="en-US" sz="1800" kern="100" dirty="0">
                <a:solidFill>
                  <a:schemeClr val="bg2">
                    <a:lumMod val="10000"/>
                  </a:schemeClr>
                </a:solidFill>
                <a:effectLst/>
                <a:latin typeface="Aptos" panose="020B0004020202020204" pitchFamily="34" charset="0"/>
                <a:ea typeface="Aptos" panose="020B0004020202020204" pitchFamily="34" charset="0"/>
                <a:cs typeface="Arial" panose="020B0604020202020204" pitchFamily="34" charset="0"/>
              </a:rPr>
              <a:t> The insights generated through this project are valuable for both law enforcement agencies and policymakers in Boston, as they provide evidence-based recommendations for reducing crime rates and enhancing the quality of life for residents.</a:t>
            </a:r>
          </a:p>
          <a:p>
            <a:pPr algn="just"/>
            <a:endParaRPr lang="en-US" dirty="0">
              <a:solidFill>
                <a:schemeClr val="bg2">
                  <a:lumMod val="10000"/>
                </a:schemeClr>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9FBE3DD-F380-FC1A-C48E-E36A6ED249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E9FBE3DD-F380-FC1A-C48E-E36A6ED249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3" name="Google Shape;483;p32"/>
          <p:cNvSpPr txBox="1">
            <a:spLocks noGrp="1"/>
          </p:cNvSpPr>
          <p:nvPr>
            <p:ph type="title"/>
          </p:nvPr>
        </p:nvSpPr>
        <p:spPr>
          <a:xfrm>
            <a:off x="401349" y="41345"/>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R</a:t>
            </a:r>
            <a:r>
              <a:rPr lang="en" dirty="0"/>
              <a:t>ecommendations</a:t>
            </a:r>
            <a:endParaRPr dirty="0"/>
          </a:p>
        </p:txBody>
      </p:sp>
      <p:graphicFrame>
        <p:nvGraphicFramePr>
          <p:cNvPr id="485" name="Google Shape;485;p32"/>
          <p:cNvGraphicFramePr/>
          <p:nvPr>
            <p:extLst>
              <p:ext uri="{D42A27DB-BD31-4B8C-83A1-F6EECF244321}">
                <p14:modId xmlns:p14="http://schemas.microsoft.com/office/powerpoint/2010/main" val="2080803252"/>
              </p:ext>
            </p:extLst>
          </p:nvPr>
        </p:nvGraphicFramePr>
        <p:xfrm>
          <a:off x="467910" y="1043911"/>
          <a:ext cx="7704000" cy="1084575"/>
        </p:xfrm>
        <a:graphic>
          <a:graphicData uri="http://schemas.openxmlformats.org/drawingml/2006/table">
            <a:tbl>
              <a:tblPr>
                <a:noFill/>
                <a:tableStyleId>{DE522F3D-4F81-468B-9082-80D2AFF5E1E1}</a:tableStyleId>
              </a:tblPr>
              <a:tblGrid>
                <a:gridCol w="2302350">
                  <a:extLst>
                    <a:ext uri="{9D8B030D-6E8A-4147-A177-3AD203B41FA5}">
                      <a16:colId xmlns:a16="http://schemas.microsoft.com/office/drawing/2014/main" val="20000"/>
                    </a:ext>
                  </a:extLst>
                </a:gridCol>
                <a:gridCol w="5401650">
                  <a:extLst>
                    <a:ext uri="{9D8B030D-6E8A-4147-A177-3AD203B41FA5}">
                      <a16:colId xmlns:a16="http://schemas.microsoft.com/office/drawing/2014/main" val="20001"/>
                    </a:ext>
                  </a:extLst>
                </a:gridCol>
              </a:tblGrid>
              <a:tr h="361525">
                <a:tc>
                  <a:txBody>
                    <a:bodyPr/>
                    <a:lstStyle/>
                    <a:p>
                      <a:pPr marL="0" lvl="0" indent="0" algn="l" rtl="0">
                        <a:spcBef>
                          <a:spcPts val="0"/>
                        </a:spcBef>
                        <a:spcAft>
                          <a:spcPts val="0"/>
                        </a:spcAft>
                        <a:buNone/>
                      </a:pPr>
                      <a:r>
                        <a:rPr lang="en-US" sz="1000" b="1" u="sng" dirty="0">
                          <a:solidFill>
                            <a:schemeClr val="dk1"/>
                          </a:solidFill>
                          <a:latin typeface="Inter"/>
                          <a:ea typeface="Inter"/>
                          <a:cs typeface="Inter"/>
                          <a:sym typeface="Inter"/>
                        </a:rPr>
                        <a:t>Place</a:t>
                      </a:r>
                      <a:endParaRPr sz="1000" b="1" u="sng" dirty="0">
                        <a:solidFill>
                          <a:schemeClr val="dk1"/>
                        </a:solidFill>
                        <a:latin typeface="Inter"/>
                        <a:ea typeface="Inter"/>
                        <a:cs typeface="Inter"/>
                        <a:sym typeface="Inter"/>
                      </a:endParaRPr>
                    </a:p>
                  </a:txBody>
                  <a:tcPr marL="91425" marR="91425" marT="0" marB="0" anchor="ctr">
                    <a:lnL w="9525" cap="flat" cmpd="sng">
                      <a:solidFill>
                        <a:srgbClr val="595959">
                          <a:alpha val="0"/>
                        </a:srgbClr>
                      </a:solidFill>
                      <a:prstDash val="solid"/>
                      <a:round/>
                      <a:headEnd type="none" w="sm" len="sm"/>
                      <a:tailEnd type="none" w="sm" len="sm"/>
                    </a:lnL>
                    <a:lnR w="9525" cap="flat" cmpd="sng">
                      <a:solidFill>
                        <a:srgbClr val="595959">
                          <a:alpha val="0"/>
                        </a:srgbClr>
                      </a:solidFill>
                      <a:prstDash val="solid"/>
                      <a:round/>
                      <a:headEnd type="none" w="sm" len="sm"/>
                      <a:tailEnd type="none" w="sm" len="sm"/>
                    </a:lnR>
                    <a:lnT w="9525" cap="flat" cmpd="sng">
                      <a:solidFill>
                        <a:srgbClr val="595959">
                          <a:alpha val="0"/>
                        </a:srgbClr>
                      </a:solidFill>
                      <a:prstDash val="solid"/>
                      <a:round/>
                      <a:headEnd type="none" w="sm" len="sm"/>
                      <a:tailEnd type="none" w="sm" len="sm"/>
                    </a:lnT>
                    <a:lnB w="9525" cap="flat" cmpd="sng">
                      <a:solidFill>
                        <a:schemeClr val="dk1"/>
                      </a:solidFill>
                      <a:prstDash val="solid"/>
                      <a:round/>
                      <a:headEnd type="none" w="sm" len="sm"/>
                      <a:tailEnd type="none" w="sm" len="sm"/>
                    </a:lnB>
                    <a:solidFill>
                      <a:schemeClr val="dk2"/>
                    </a:solidFill>
                  </a:tcPr>
                </a:tc>
                <a:tc>
                  <a:txBody>
                    <a:bodyPr/>
                    <a:lstStyle/>
                    <a:p>
                      <a:r>
                        <a:rPr lang="en-US" sz="1000" dirty="0"/>
                        <a:t>Increase the number of police car patrols on Washington Street in B2</a:t>
                      </a:r>
                    </a:p>
                  </a:txBody>
                  <a:tcPr marL="91425" marR="91425" marT="0" marB="0" anchor="ctr">
                    <a:lnL w="9525" cap="flat" cmpd="sng">
                      <a:solidFill>
                        <a:srgbClr val="595959">
                          <a:alpha val="0"/>
                        </a:srgbClr>
                      </a:solidFill>
                      <a:prstDash val="solid"/>
                      <a:round/>
                      <a:headEnd type="none" w="sm" len="sm"/>
                      <a:tailEnd type="none" w="sm" len="sm"/>
                    </a:lnL>
                    <a:lnR w="9525" cap="flat" cmpd="sng">
                      <a:solidFill>
                        <a:srgbClr val="595959">
                          <a:alpha val="0"/>
                        </a:srgbClr>
                      </a:solidFill>
                      <a:prstDash val="solid"/>
                      <a:round/>
                      <a:headEnd type="none" w="sm" len="sm"/>
                      <a:tailEnd type="none" w="sm" len="sm"/>
                    </a:lnR>
                    <a:lnT w="9525" cap="flat" cmpd="sng">
                      <a:solidFill>
                        <a:srgbClr val="595959">
                          <a:alpha val="0"/>
                        </a:srgbClr>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0"/>
                  </a:ext>
                </a:extLst>
              </a:tr>
              <a:tr h="361525">
                <a:tc>
                  <a:txBody>
                    <a:bodyPr/>
                    <a:lstStyle/>
                    <a:p>
                      <a:pPr marL="0" lvl="0" indent="0" algn="l" rtl="0">
                        <a:spcBef>
                          <a:spcPts val="0"/>
                        </a:spcBef>
                        <a:spcAft>
                          <a:spcPts val="0"/>
                        </a:spcAft>
                        <a:buNone/>
                      </a:pPr>
                      <a:r>
                        <a:rPr lang="en" sz="1000" b="1" u="sng" dirty="0">
                          <a:solidFill>
                            <a:schemeClr val="dk1"/>
                          </a:solidFill>
                          <a:latin typeface="Inter"/>
                          <a:ea typeface="Inter"/>
                          <a:cs typeface="Inter"/>
                          <a:sym typeface="Inter"/>
                        </a:rPr>
                        <a:t>Time</a:t>
                      </a:r>
                      <a:endParaRPr sz="1000" b="1" u="sng" dirty="0">
                        <a:solidFill>
                          <a:schemeClr val="dk1"/>
                        </a:solidFill>
                        <a:latin typeface="Inter"/>
                        <a:ea typeface="Inter"/>
                        <a:cs typeface="Inter"/>
                        <a:sym typeface="Inter"/>
                      </a:endParaRPr>
                    </a:p>
                  </a:txBody>
                  <a:tcPr marL="91425" marR="91425" marT="0" marB="0" anchor="ctr">
                    <a:lnL w="9525" cap="flat" cmpd="sng">
                      <a:solidFill>
                        <a:srgbClr val="595959">
                          <a:alpha val="0"/>
                        </a:srgbClr>
                      </a:solidFill>
                      <a:prstDash val="solid"/>
                      <a:round/>
                      <a:headEnd type="none" w="sm" len="sm"/>
                      <a:tailEnd type="none" w="sm" len="sm"/>
                    </a:lnL>
                    <a:lnR w="9525" cap="flat" cmpd="sng">
                      <a:solidFill>
                        <a:srgbClr val="595959">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chemeClr val="dk2"/>
                    </a:solidFill>
                  </a:tcPr>
                </a:tc>
                <a:tc>
                  <a:txBody>
                    <a:bodyPr/>
                    <a:lstStyle/>
                    <a:p>
                      <a:pPr marL="0" marR="0" lvl="0" indent="0" algn="l" rtl="0">
                        <a:lnSpc>
                          <a:spcPct val="100000"/>
                        </a:lnSpc>
                        <a:spcBef>
                          <a:spcPts val="0"/>
                        </a:spcBef>
                        <a:spcAft>
                          <a:spcPts val="1600"/>
                        </a:spcAft>
                        <a:buNone/>
                      </a:pPr>
                      <a:r>
                        <a:rPr lang="en-US" sz="1000" dirty="0"/>
                        <a:t>Increase number of police shifts from 1 PM to 6 PM</a:t>
                      </a:r>
                      <a:endParaRPr sz="1000" dirty="0">
                        <a:solidFill>
                          <a:schemeClr val="dk1"/>
                        </a:solidFill>
                        <a:latin typeface="Inter"/>
                        <a:ea typeface="Inter"/>
                        <a:cs typeface="Inter"/>
                        <a:sym typeface="Inter"/>
                      </a:endParaRPr>
                    </a:p>
                  </a:txBody>
                  <a:tcPr marL="91425" marR="91425" marT="0" marB="0" anchor="ctr">
                    <a:lnL w="9525" cap="flat" cmpd="sng">
                      <a:solidFill>
                        <a:srgbClr val="595959">
                          <a:alpha val="0"/>
                        </a:srgbClr>
                      </a:solidFill>
                      <a:prstDash val="solid"/>
                      <a:round/>
                      <a:headEnd type="none" w="sm" len="sm"/>
                      <a:tailEnd type="none" w="sm" len="sm"/>
                    </a:lnL>
                    <a:lnR w="9525" cap="flat" cmpd="sng">
                      <a:solidFill>
                        <a:srgbClr val="595959">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r h="361525">
                <a:tc>
                  <a:txBody>
                    <a:bodyPr/>
                    <a:lstStyle/>
                    <a:p>
                      <a:pPr marL="0" lvl="0" indent="0" algn="l" rtl="0">
                        <a:spcBef>
                          <a:spcPts val="0"/>
                        </a:spcBef>
                        <a:spcAft>
                          <a:spcPts val="0"/>
                        </a:spcAft>
                        <a:buNone/>
                      </a:pPr>
                      <a:r>
                        <a:rPr lang="en-US" sz="1000" b="1" u="sng" dirty="0">
                          <a:solidFill>
                            <a:schemeClr val="dk1"/>
                          </a:solidFill>
                          <a:latin typeface="Inter"/>
                          <a:ea typeface="Inter"/>
                          <a:cs typeface="Inter"/>
                          <a:sym typeface="Inter"/>
                        </a:rPr>
                        <a:t>Seasonal Trend</a:t>
                      </a:r>
                      <a:endParaRPr sz="1000" b="1" u="sng" dirty="0">
                        <a:solidFill>
                          <a:schemeClr val="dk1"/>
                        </a:solidFill>
                        <a:latin typeface="Inter"/>
                        <a:ea typeface="Inter"/>
                        <a:cs typeface="Inter"/>
                        <a:sym typeface="Inter"/>
                      </a:endParaRPr>
                    </a:p>
                  </a:txBody>
                  <a:tcPr marL="91425" marR="91425" marT="0" marB="0" anchor="ctr">
                    <a:lnL w="9525" cap="flat" cmpd="sng">
                      <a:solidFill>
                        <a:srgbClr val="595959">
                          <a:alpha val="0"/>
                        </a:srgbClr>
                      </a:solidFill>
                      <a:prstDash val="solid"/>
                      <a:round/>
                      <a:headEnd type="none" w="sm" len="sm"/>
                      <a:tailEnd type="none" w="sm" len="sm"/>
                    </a:lnL>
                    <a:lnR w="9525" cap="flat" cmpd="sng">
                      <a:solidFill>
                        <a:srgbClr val="595959">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solidFill>
                      <a:schemeClr val="dk2"/>
                    </a:solidFill>
                  </a:tcPr>
                </a:tc>
                <a:tc>
                  <a:txBody>
                    <a:bodyPr/>
                    <a:lstStyle/>
                    <a:p>
                      <a:pPr marL="0" lvl="0" indent="0" algn="l" rtl="0">
                        <a:spcBef>
                          <a:spcPts val="0"/>
                        </a:spcBef>
                        <a:spcAft>
                          <a:spcPts val="1600"/>
                        </a:spcAft>
                        <a:buNone/>
                      </a:pPr>
                      <a:r>
                        <a:rPr lang="en-US" sz="1000" dirty="0"/>
                        <a:t>Increase number of police shifts .</a:t>
                      </a:r>
                      <a:r>
                        <a:rPr lang="en-US" sz="1000" b="0" i="0" u="none" strike="noStrike" cap="none" dirty="0">
                          <a:solidFill>
                            <a:srgbClr val="000000"/>
                          </a:solidFill>
                          <a:latin typeface="Arial"/>
                          <a:ea typeface="Inter"/>
                          <a:cs typeface="Arial"/>
                          <a:sym typeface="Inter"/>
                        </a:rPr>
                        <a:t>A peak in crimes during warmer months (August)</a:t>
                      </a:r>
                      <a:endParaRPr sz="1000" b="0" i="0" u="none" strike="noStrike" cap="none" dirty="0">
                        <a:solidFill>
                          <a:srgbClr val="000000"/>
                        </a:solidFill>
                        <a:latin typeface="Arial"/>
                        <a:ea typeface="Inter"/>
                        <a:cs typeface="Arial"/>
                        <a:sym typeface="Inter"/>
                      </a:endParaRPr>
                    </a:p>
                  </a:txBody>
                  <a:tcPr marL="91425" marR="91425" marT="0" marB="0" anchor="ctr">
                    <a:lnL w="9525" cap="flat" cmpd="sng">
                      <a:solidFill>
                        <a:srgbClr val="595959">
                          <a:alpha val="0"/>
                        </a:srgbClr>
                      </a:solidFill>
                      <a:prstDash val="solid"/>
                      <a:round/>
                      <a:headEnd type="none" w="sm" len="sm"/>
                      <a:tailEnd type="none" w="sm" len="sm"/>
                    </a:lnL>
                    <a:lnR w="9525" cap="flat" cmpd="sng">
                      <a:solidFill>
                        <a:srgbClr val="595959">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chemeClr val="dk1"/>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grpSp>
        <p:nvGrpSpPr>
          <p:cNvPr id="488" name="Google Shape;488;p32"/>
          <p:cNvGrpSpPr/>
          <p:nvPr/>
        </p:nvGrpSpPr>
        <p:grpSpPr>
          <a:xfrm>
            <a:off x="8105349" y="4148721"/>
            <a:ext cx="1099092" cy="1238854"/>
            <a:chOff x="2594603" y="2081903"/>
            <a:chExt cx="871327" cy="982126"/>
          </a:xfrm>
        </p:grpSpPr>
        <p:sp>
          <p:nvSpPr>
            <p:cNvPr id="489" name="Google Shape;489;p32"/>
            <p:cNvSpPr/>
            <p:nvPr/>
          </p:nvSpPr>
          <p:spPr>
            <a:xfrm>
              <a:off x="3157347" y="2358046"/>
              <a:ext cx="186375" cy="36542"/>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0" name="Google Shape;490;p32"/>
            <p:cNvSpPr/>
            <p:nvPr/>
          </p:nvSpPr>
          <p:spPr>
            <a:xfrm>
              <a:off x="3076913" y="2815020"/>
              <a:ext cx="186375" cy="36542"/>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1" name="Google Shape;491;p32"/>
            <p:cNvSpPr/>
            <p:nvPr/>
          </p:nvSpPr>
          <p:spPr>
            <a:xfrm>
              <a:off x="3157347" y="2430693"/>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2" name="Google Shape;492;p32"/>
            <p:cNvSpPr/>
            <p:nvPr/>
          </p:nvSpPr>
          <p:spPr>
            <a:xfrm>
              <a:off x="3157347" y="2455005"/>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3" name="Google Shape;493;p32"/>
            <p:cNvSpPr/>
            <p:nvPr/>
          </p:nvSpPr>
          <p:spPr>
            <a:xfrm>
              <a:off x="3157347" y="2479318"/>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4" name="Google Shape;494;p32"/>
            <p:cNvSpPr/>
            <p:nvPr/>
          </p:nvSpPr>
          <p:spPr>
            <a:xfrm>
              <a:off x="3143746" y="2888800"/>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5" name="Google Shape;495;p32"/>
            <p:cNvSpPr/>
            <p:nvPr/>
          </p:nvSpPr>
          <p:spPr>
            <a:xfrm>
              <a:off x="3143746" y="2913076"/>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6" name="Google Shape;496;p32"/>
            <p:cNvSpPr/>
            <p:nvPr/>
          </p:nvSpPr>
          <p:spPr>
            <a:xfrm>
              <a:off x="3143746" y="2937389"/>
              <a:ext cx="119375" cy="3665"/>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7" name="Google Shape;497;p32"/>
            <p:cNvSpPr/>
            <p:nvPr/>
          </p:nvSpPr>
          <p:spPr>
            <a:xfrm>
              <a:off x="2594639" y="2081903"/>
              <a:ext cx="871290" cy="982126"/>
            </a:xfrm>
            <a:custGeom>
              <a:avLst/>
              <a:gdLst/>
              <a:ahLst/>
              <a:cxnLst/>
              <a:rect l="l" t="t" r="r" b="b"/>
              <a:pathLst>
                <a:path w="1805783" h="2035494" extrusionOk="0">
                  <a:moveTo>
                    <a:pt x="1634108" y="2035494"/>
                  </a:moveTo>
                  <a:lnTo>
                    <a:pt x="171600" y="2035494"/>
                  </a:lnTo>
                  <a:cubicBezTo>
                    <a:pt x="76798" y="2035494"/>
                    <a:pt x="0" y="1958620"/>
                    <a:pt x="0" y="1863895"/>
                  </a:cubicBezTo>
                  <a:lnTo>
                    <a:pt x="0" y="171600"/>
                  </a:lnTo>
                  <a:cubicBezTo>
                    <a:pt x="-76" y="76874"/>
                    <a:pt x="76798" y="0"/>
                    <a:pt x="171600" y="0"/>
                  </a:cubicBezTo>
                  <a:lnTo>
                    <a:pt x="1634184" y="0"/>
                  </a:lnTo>
                  <a:cubicBezTo>
                    <a:pt x="1728985" y="0"/>
                    <a:pt x="1805783" y="76874"/>
                    <a:pt x="1805783" y="171600"/>
                  </a:cubicBezTo>
                  <a:lnTo>
                    <a:pt x="1805783" y="1863819"/>
                  </a:lnTo>
                  <a:cubicBezTo>
                    <a:pt x="1805783" y="1958620"/>
                    <a:pt x="1728909" y="2035494"/>
                    <a:pt x="1634108" y="2035494"/>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8" name="Google Shape;498;p32"/>
            <p:cNvSpPr/>
            <p:nvPr/>
          </p:nvSpPr>
          <p:spPr>
            <a:xfrm>
              <a:off x="2594603" y="2323895"/>
              <a:ext cx="871290" cy="645078"/>
            </a:xfrm>
            <a:custGeom>
              <a:avLst/>
              <a:gdLst/>
              <a:ahLst/>
              <a:cxnLst/>
              <a:rect l="l" t="t" r="r" b="b"/>
              <a:pathLst>
                <a:path w="1805783" h="1336949" extrusionOk="0">
                  <a:moveTo>
                    <a:pt x="0" y="548154"/>
                  </a:moveTo>
                  <a:lnTo>
                    <a:pt x="205479" y="891277"/>
                  </a:lnTo>
                  <a:cubicBezTo>
                    <a:pt x="221507" y="918092"/>
                    <a:pt x="261615" y="913838"/>
                    <a:pt x="271642" y="884213"/>
                  </a:cubicBezTo>
                  <a:lnTo>
                    <a:pt x="550349" y="60854"/>
                  </a:lnTo>
                  <a:cubicBezTo>
                    <a:pt x="560832" y="29861"/>
                    <a:pt x="603523" y="27050"/>
                    <a:pt x="617956" y="56372"/>
                  </a:cubicBezTo>
                  <a:lnTo>
                    <a:pt x="729545" y="282893"/>
                  </a:lnTo>
                  <a:cubicBezTo>
                    <a:pt x="743522" y="311227"/>
                    <a:pt x="784466" y="309783"/>
                    <a:pt x="796392" y="280538"/>
                  </a:cubicBezTo>
                  <a:lnTo>
                    <a:pt x="901676" y="22797"/>
                  </a:lnTo>
                  <a:cubicBezTo>
                    <a:pt x="914362" y="-8272"/>
                    <a:pt x="958648" y="-7361"/>
                    <a:pt x="970119" y="24164"/>
                  </a:cubicBezTo>
                  <a:lnTo>
                    <a:pt x="1271918" y="857930"/>
                  </a:lnTo>
                  <a:cubicBezTo>
                    <a:pt x="1283844" y="890822"/>
                    <a:pt x="1330713" y="889910"/>
                    <a:pt x="1341348" y="856562"/>
                  </a:cubicBezTo>
                  <a:lnTo>
                    <a:pt x="1388065" y="709954"/>
                  </a:lnTo>
                  <a:cubicBezTo>
                    <a:pt x="1398776" y="676227"/>
                    <a:pt x="1446404" y="675771"/>
                    <a:pt x="1457723" y="709347"/>
                  </a:cubicBezTo>
                  <a:lnTo>
                    <a:pt x="1551916" y="987066"/>
                  </a:lnTo>
                  <a:cubicBezTo>
                    <a:pt x="1562703" y="1018818"/>
                    <a:pt x="1606989" y="1020642"/>
                    <a:pt x="1620283" y="989877"/>
                  </a:cubicBezTo>
                  <a:lnTo>
                    <a:pt x="1620283" y="989877"/>
                  </a:lnTo>
                  <a:cubicBezTo>
                    <a:pt x="1633576" y="959112"/>
                    <a:pt x="1677862" y="960859"/>
                    <a:pt x="1688649" y="992611"/>
                  </a:cubicBezTo>
                  <a:lnTo>
                    <a:pt x="1805783" y="133695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99" name="Google Shape;499;p32"/>
            <p:cNvSpPr/>
            <p:nvPr/>
          </p:nvSpPr>
          <p:spPr>
            <a:xfrm>
              <a:off x="3054464" y="2358046"/>
              <a:ext cx="49260" cy="49260"/>
            </a:xfrm>
            <a:custGeom>
              <a:avLst/>
              <a:gdLst/>
              <a:ahLst/>
              <a:cxnLst/>
              <a:rect l="l" t="t" r="r" b="b"/>
              <a:pathLst>
                <a:path w="102093" h="102093" extrusionOk="0">
                  <a:moveTo>
                    <a:pt x="102094" y="51047"/>
                  </a:moveTo>
                  <a:cubicBezTo>
                    <a:pt x="102094" y="79229"/>
                    <a:pt x="79229" y="102094"/>
                    <a:pt x="51047" y="102094"/>
                  </a:cubicBezTo>
                  <a:cubicBezTo>
                    <a:pt x="22865" y="102094"/>
                    <a:pt x="0" y="79229"/>
                    <a:pt x="0" y="51047"/>
                  </a:cubicBezTo>
                  <a:cubicBezTo>
                    <a:pt x="0" y="22865"/>
                    <a:pt x="22865" y="0"/>
                    <a:pt x="51047" y="0"/>
                  </a:cubicBezTo>
                  <a:cubicBezTo>
                    <a:pt x="79229" y="0"/>
                    <a:pt x="102094" y="22865"/>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0" name="Google Shape;500;p32"/>
            <p:cNvSpPr/>
            <p:nvPr/>
          </p:nvSpPr>
          <p:spPr>
            <a:xfrm>
              <a:off x="3306807" y="2724970"/>
              <a:ext cx="49260" cy="49260"/>
            </a:xfrm>
            <a:custGeom>
              <a:avLst/>
              <a:gdLst/>
              <a:ahLst/>
              <a:cxnLst/>
              <a:rect l="l" t="t" r="r" b="b"/>
              <a:pathLst>
                <a:path w="102093" h="102093" extrusionOk="0">
                  <a:moveTo>
                    <a:pt x="102094" y="51047"/>
                  </a:moveTo>
                  <a:cubicBezTo>
                    <a:pt x="102094" y="79239"/>
                    <a:pt x="79239" y="102094"/>
                    <a:pt x="51047" y="102094"/>
                  </a:cubicBezTo>
                  <a:cubicBezTo>
                    <a:pt x="22855" y="102094"/>
                    <a:pt x="0" y="79239"/>
                    <a:pt x="0" y="51047"/>
                  </a:cubicBezTo>
                  <a:cubicBezTo>
                    <a:pt x="0" y="22855"/>
                    <a:pt x="22855" y="0"/>
                    <a:pt x="51047" y="0"/>
                  </a:cubicBezTo>
                  <a:cubicBezTo>
                    <a:pt x="79239" y="0"/>
                    <a:pt x="102094" y="22855"/>
                    <a:pt x="102094" y="51047"/>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1" name="Google Shape;501;p32"/>
            <p:cNvSpPr/>
            <p:nvPr/>
          </p:nvSpPr>
          <p:spPr>
            <a:xfrm>
              <a:off x="2734813" y="2455008"/>
              <a:ext cx="342916" cy="205028"/>
            </a:xfrm>
            <a:custGeom>
              <a:avLst/>
              <a:gdLst/>
              <a:ahLst/>
              <a:cxnLst/>
              <a:rect l="l" t="t" r="r" b="b"/>
              <a:pathLst>
                <a:path w="710706" h="424928" extrusionOk="0">
                  <a:moveTo>
                    <a:pt x="672269" y="6831"/>
                  </a:moveTo>
                  <a:lnTo>
                    <a:pt x="596762" y="84161"/>
                  </a:lnTo>
                  <a:lnTo>
                    <a:pt x="54085" y="84161"/>
                  </a:lnTo>
                  <a:cubicBezTo>
                    <a:pt x="24232" y="84161"/>
                    <a:pt x="0" y="108393"/>
                    <a:pt x="0" y="138246"/>
                  </a:cubicBezTo>
                  <a:lnTo>
                    <a:pt x="0" y="370843"/>
                  </a:lnTo>
                  <a:cubicBezTo>
                    <a:pt x="0" y="400697"/>
                    <a:pt x="24232" y="424929"/>
                    <a:pt x="54085" y="424929"/>
                  </a:cubicBezTo>
                  <a:lnTo>
                    <a:pt x="656621" y="424929"/>
                  </a:lnTo>
                  <a:cubicBezTo>
                    <a:pt x="686474" y="424929"/>
                    <a:pt x="710706" y="400697"/>
                    <a:pt x="710706" y="370843"/>
                  </a:cubicBezTo>
                  <a:lnTo>
                    <a:pt x="710706" y="84161"/>
                  </a:lnTo>
                  <a:lnTo>
                    <a:pt x="710706" y="22555"/>
                  </a:lnTo>
                  <a:cubicBezTo>
                    <a:pt x="710782" y="2349"/>
                    <a:pt x="686322" y="-7602"/>
                    <a:pt x="672269" y="683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2" name="Google Shape;502;p32"/>
            <p:cNvSpPr/>
            <p:nvPr/>
          </p:nvSpPr>
          <p:spPr>
            <a:xfrm>
              <a:off x="2594603" y="2143434"/>
              <a:ext cx="871327" cy="3665"/>
            </a:xfrm>
            <a:custGeom>
              <a:avLst/>
              <a:gdLst/>
              <a:ahLst/>
              <a:cxnLst/>
              <a:rect l="l" t="t" r="r" b="b"/>
              <a:pathLst>
                <a:path w="1805859" h="7596" extrusionOk="0">
                  <a:moveTo>
                    <a:pt x="0" y="0"/>
                  </a:moveTo>
                  <a:lnTo>
                    <a:pt x="180585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503" name="Google Shape;503;p32"/>
          <p:cNvGrpSpPr/>
          <p:nvPr/>
        </p:nvGrpSpPr>
        <p:grpSpPr>
          <a:xfrm>
            <a:off x="-262423" y="4603993"/>
            <a:ext cx="988875" cy="824428"/>
            <a:chOff x="5378191" y="1701500"/>
            <a:chExt cx="611171" cy="509535"/>
          </a:xfrm>
        </p:grpSpPr>
        <p:sp>
          <p:nvSpPr>
            <p:cNvPr id="504" name="Google Shape;504;p32"/>
            <p:cNvSpPr/>
            <p:nvPr/>
          </p:nvSpPr>
          <p:spPr>
            <a:xfrm>
              <a:off x="5378191" y="1701500"/>
              <a:ext cx="611171" cy="509535"/>
            </a:xfrm>
            <a:custGeom>
              <a:avLst/>
              <a:gdLst/>
              <a:ahLst/>
              <a:cxnLst/>
              <a:rect l="l" t="t" r="r" b="b"/>
              <a:pathLst>
                <a:path w="1266676" h="1056032" extrusionOk="0">
                  <a:moveTo>
                    <a:pt x="1101761" y="1056032"/>
                  </a:moveTo>
                  <a:lnTo>
                    <a:pt x="164915" y="1056032"/>
                  </a:lnTo>
                  <a:cubicBezTo>
                    <a:pt x="73835" y="1056032"/>
                    <a:pt x="0" y="982197"/>
                    <a:pt x="0" y="891118"/>
                  </a:cubicBezTo>
                  <a:lnTo>
                    <a:pt x="0" y="164915"/>
                  </a:lnTo>
                  <a:cubicBezTo>
                    <a:pt x="0" y="73836"/>
                    <a:pt x="73835" y="0"/>
                    <a:pt x="164915" y="0"/>
                  </a:cubicBezTo>
                  <a:lnTo>
                    <a:pt x="1101761" y="0"/>
                  </a:lnTo>
                  <a:cubicBezTo>
                    <a:pt x="1192841" y="0"/>
                    <a:pt x="1266677" y="73836"/>
                    <a:pt x="1266677" y="164915"/>
                  </a:cubicBezTo>
                  <a:lnTo>
                    <a:pt x="1266677" y="891118"/>
                  </a:lnTo>
                  <a:cubicBezTo>
                    <a:pt x="1266677" y="982197"/>
                    <a:pt x="1192841" y="1056032"/>
                    <a:pt x="1101761" y="105603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5" name="Google Shape;505;p32"/>
            <p:cNvSpPr/>
            <p:nvPr/>
          </p:nvSpPr>
          <p:spPr>
            <a:xfrm>
              <a:off x="5497928" y="1776815"/>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6" name="Google Shape;506;p32"/>
            <p:cNvSpPr/>
            <p:nvPr/>
          </p:nvSpPr>
          <p:spPr>
            <a:xfrm>
              <a:off x="5608451" y="1776815"/>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7" name="Google Shape;507;p32"/>
            <p:cNvSpPr/>
            <p:nvPr/>
          </p:nvSpPr>
          <p:spPr>
            <a:xfrm>
              <a:off x="571901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8" name="Google Shape;508;p32"/>
            <p:cNvSpPr/>
            <p:nvPr/>
          </p:nvSpPr>
          <p:spPr>
            <a:xfrm>
              <a:off x="582957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09" name="Google Shape;509;p32"/>
            <p:cNvSpPr/>
            <p:nvPr/>
          </p:nvSpPr>
          <p:spPr>
            <a:xfrm>
              <a:off x="5497928" y="1882549"/>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0" name="Google Shape;510;p32"/>
            <p:cNvSpPr/>
            <p:nvPr/>
          </p:nvSpPr>
          <p:spPr>
            <a:xfrm>
              <a:off x="5608451" y="1882549"/>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1" name="Google Shape;511;p32"/>
            <p:cNvSpPr/>
            <p:nvPr/>
          </p:nvSpPr>
          <p:spPr>
            <a:xfrm>
              <a:off x="571901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2" name="Google Shape;512;p32"/>
            <p:cNvSpPr/>
            <p:nvPr/>
          </p:nvSpPr>
          <p:spPr>
            <a:xfrm>
              <a:off x="582957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3" name="Google Shape;513;p32"/>
            <p:cNvSpPr/>
            <p:nvPr/>
          </p:nvSpPr>
          <p:spPr>
            <a:xfrm>
              <a:off x="5497928" y="198832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4" name="Google Shape;514;p32"/>
            <p:cNvSpPr/>
            <p:nvPr/>
          </p:nvSpPr>
          <p:spPr>
            <a:xfrm>
              <a:off x="5608451" y="198832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5" name="Google Shape;515;p32"/>
            <p:cNvSpPr/>
            <p:nvPr/>
          </p:nvSpPr>
          <p:spPr>
            <a:xfrm>
              <a:off x="571901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6" name="Google Shape;516;p32"/>
            <p:cNvSpPr/>
            <p:nvPr/>
          </p:nvSpPr>
          <p:spPr>
            <a:xfrm>
              <a:off x="582957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7" name="Google Shape;517;p32"/>
            <p:cNvSpPr/>
            <p:nvPr/>
          </p:nvSpPr>
          <p:spPr>
            <a:xfrm>
              <a:off x="5497928" y="209409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8" name="Google Shape;518;p32"/>
            <p:cNvSpPr/>
            <p:nvPr/>
          </p:nvSpPr>
          <p:spPr>
            <a:xfrm>
              <a:off x="5608451" y="209409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19" name="Google Shape;519;p32"/>
            <p:cNvSpPr/>
            <p:nvPr/>
          </p:nvSpPr>
          <p:spPr>
            <a:xfrm>
              <a:off x="571901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20" name="Google Shape;520;p32"/>
            <p:cNvSpPr/>
            <p:nvPr/>
          </p:nvSpPr>
          <p:spPr>
            <a:xfrm>
              <a:off x="582957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4" name="TextBox 3">
            <a:extLst>
              <a:ext uri="{FF2B5EF4-FFF2-40B4-BE49-F238E27FC236}">
                <a16:creationId xmlns:a16="http://schemas.microsoft.com/office/drawing/2014/main" id="{F1DC0639-7486-4304-83AE-0FBF9AB60249}"/>
              </a:ext>
            </a:extLst>
          </p:cNvPr>
          <p:cNvSpPr txBox="1"/>
          <p:nvPr/>
        </p:nvSpPr>
        <p:spPr>
          <a:xfrm>
            <a:off x="289024" y="2748610"/>
            <a:ext cx="8048618" cy="702372"/>
          </a:xfrm>
          <a:prstGeom prst="rect">
            <a:avLst/>
          </a:prstGeom>
          <a:noFill/>
        </p:spPr>
        <p:txBody>
          <a:bodyPr wrap="square">
            <a:spAutoFit/>
          </a:bodyPr>
          <a:lstStyle/>
          <a:p>
            <a:pPr marR="0" lvl="0" algn="just">
              <a:lnSpc>
                <a:spcPct val="115000"/>
              </a:lnSpc>
              <a:spcBef>
                <a:spcPts val="0"/>
              </a:spcBef>
              <a:spcAft>
                <a:spcPts val="800"/>
              </a:spcAft>
              <a:buSzPts val="1000"/>
              <a:tabLst>
                <a:tab pos="457200" algn="l"/>
              </a:tabLst>
            </a:pPr>
            <a:r>
              <a:rPr lang="en-US" sz="1800" dirty="0"/>
              <a:t>Predictive models can be developed to forecast future crime occurrences, assisting in proactive intervention planning.</a:t>
            </a:r>
          </a:p>
        </p:txBody>
      </p:sp>
    </p:spTree>
    <p:extLst>
      <p:ext uri="{BB962C8B-B14F-4D97-AF65-F5344CB8AC3E}">
        <p14:creationId xmlns:p14="http://schemas.microsoft.com/office/powerpoint/2010/main" val="34663718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903"/>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146E8D7-AC0B-4842-21A7-466CDD376B31}"/>
              </a:ext>
            </a:extLst>
          </p:cNvPr>
          <p:cNvGraphicFramePr>
            <a:graphicFrameLocks noChangeAspect="1"/>
          </p:cNvGraphicFramePr>
          <p:nvPr>
            <p:custDataLst>
              <p:tags r:id="rId1"/>
            </p:custDataLst>
            <p:extLst>
              <p:ext uri="{D42A27DB-BD31-4B8C-83A1-F6EECF244321}">
                <p14:modId xmlns:p14="http://schemas.microsoft.com/office/powerpoint/2010/main" val="41605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06" name="Google Shape;906;p45"/>
          <p:cNvGrpSpPr/>
          <p:nvPr/>
        </p:nvGrpSpPr>
        <p:grpSpPr>
          <a:xfrm>
            <a:off x="842155" y="472077"/>
            <a:ext cx="2231730" cy="1093837"/>
            <a:chOff x="-215300" y="3851305"/>
            <a:chExt cx="1694813" cy="830678"/>
          </a:xfrm>
        </p:grpSpPr>
        <p:sp>
          <p:nvSpPr>
            <p:cNvPr id="907" name="Google Shape;907;p45"/>
            <p:cNvSpPr/>
            <p:nvPr/>
          </p:nvSpPr>
          <p:spPr>
            <a:xfrm>
              <a:off x="861887" y="3947362"/>
              <a:ext cx="215345" cy="42222"/>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908" name="Google Shape;908;p45"/>
            <p:cNvGrpSpPr/>
            <p:nvPr/>
          </p:nvGrpSpPr>
          <p:grpSpPr>
            <a:xfrm>
              <a:off x="861887" y="4031521"/>
              <a:ext cx="137882" cy="60495"/>
              <a:chOff x="1949580" y="3551527"/>
              <a:chExt cx="247410" cy="108551"/>
            </a:xfrm>
          </p:grpSpPr>
          <p:sp>
            <p:nvSpPr>
              <p:cNvPr id="909" name="Google Shape;909;p45"/>
              <p:cNvSpPr/>
              <p:nvPr/>
            </p:nvSpPr>
            <p:spPr>
              <a:xfrm>
                <a:off x="1949580" y="3551527"/>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0" name="Google Shape;910;p45"/>
              <p:cNvSpPr/>
              <p:nvPr/>
            </p:nvSpPr>
            <p:spPr>
              <a:xfrm>
                <a:off x="1949580" y="3601966"/>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1" name="Google Shape;911;p45"/>
              <p:cNvSpPr/>
              <p:nvPr/>
            </p:nvSpPr>
            <p:spPr>
              <a:xfrm>
                <a:off x="1949580" y="3652482"/>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912" name="Google Shape;912;p45"/>
            <p:cNvSpPr/>
            <p:nvPr/>
          </p:nvSpPr>
          <p:spPr>
            <a:xfrm>
              <a:off x="-85801"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3" name="Google Shape;913;p45"/>
            <p:cNvSpPr/>
            <p:nvPr/>
          </p:nvSpPr>
          <p:spPr>
            <a:xfrm>
              <a:off x="104109" y="4375950"/>
              <a:ext cx="105745" cy="305846"/>
            </a:xfrm>
            <a:custGeom>
              <a:avLst/>
              <a:gdLst/>
              <a:ahLst/>
              <a:cxnLst/>
              <a:rect l="l" t="t" r="r" b="b"/>
              <a:pathLst>
                <a:path w="189678" h="548602" extrusionOk="0">
                  <a:moveTo>
                    <a:pt x="0" y="0"/>
                  </a:moveTo>
                  <a:lnTo>
                    <a:pt x="189679" y="0"/>
                  </a:lnTo>
                  <a:lnTo>
                    <a:pt x="189679" y="548602"/>
                  </a:lnTo>
                  <a:lnTo>
                    <a:pt x="0" y="548602"/>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4" name="Google Shape;914;p45"/>
            <p:cNvSpPr/>
            <p:nvPr/>
          </p:nvSpPr>
          <p:spPr>
            <a:xfrm>
              <a:off x="294020" y="4210340"/>
              <a:ext cx="105745" cy="471557"/>
            </a:xfrm>
            <a:custGeom>
              <a:avLst/>
              <a:gdLst/>
              <a:ahLst/>
              <a:cxnLst/>
              <a:rect l="l" t="t" r="r" b="b"/>
              <a:pathLst>
                <a:path w="189678" h="845843" extrusionOk="0">
                  <a:moveTo>
                    <a:pt x="0" y="0"/>
                  </a:moveTo>
                  <a:lnTo>
                    <a:pt x="189679" y="0"/>
                  </a:lnTo>
                  <a:lnTo>
                    <a:pt x="189679" y="845844"/>
                  </a:lnTo>
                  <a:lnTo>
                    <a:pt x="0" y="845844"/>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5" name="Google Shape;915;p45"/>
            <p:cNvSpPr/>
            <p:nvPr/>
          </p:nvSpPr>
          <p:spPr>
            <a:xfrm>
              <a:off x="483972"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6" name="Google Shape;916;p45"/>
            <p:cNvSpPr/>
            <p:nvPr/>
          </p:nvSpPr>
          <p:spPr>
            <a:xfrm>
              <a:off x="673882"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7" name="Google Shape;917;p45"/>
            <p:cNvSpPr/>
            <p:nvPr/>
          </p:nvSpPr>
          <p:spPr>
            <a:xfrm>
              <a:off x="863835" y="4347926"/>
              <a:ext cx="105745" cy="333923"/>
            </a:xfrm>
            <a:custGeom>
              <a:avLst/>
              <a:gdLst/>
              <a:ahLst/>
              <a:cxnLst/>
              <a:rect l="l" t="t" r="r" b="b"/>
              <a:pathLst>
                <a:path w="189678" h="598965" extrusionOk="0">
                  <a:moveTo>
                    <a:pt x="0" y="0"/>
                  </a:moveTo>
                  <a:lnTo>
                    <a:pt x="189679" y="0"/>
                  </a:lnTo>
                  <a:lnTo>
                    <a:pt x="189679" y="598965"/>
                  </a:lnTo>
                  <a:lnTo>
                    <a:pt x="0" y="59896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8" name="Google Shape;918;p45"/>
            <p:cNvSpPr/>
            <p:nvPr/>
          </p:nvSpPr>
          <p:spPr>
            <a:xfrm>
              <a:off x="1053745" y="4472133"/>
              <a:ext cx="105745" cy="209628"/>
            </a:xfrm>
            <a:custGeom>
              <a:avLst/>
              <a:gdLst/>
              <a:ahLst/>
              <a:cxnLst/>
              <a:rect l="l" t="t" r="r" b="b"/>
              <a:pathLst>
                <a:path w="189678" h="376014" extrusionOk="0">
                  <a:moveTo>
                    <a:pt x="0" y="0"/>
                  </a:moveTo>
                  <a:lnTo>
                    <a:pt x="189679" y="0"/>
                  </a:lnTo>
                  <a:lnTo>
                    <a:pt x="189679" y="376015"/>
                  </a:lnTo>
                  <a:lnTo>
                    <a:pt x="0" y="37601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19" name="Google Shape;919;p45"/>
            <p:cNvSpPr/>
            <p:nvPr/>
          </p:nvSpPr>
          <p:spPr>
            <a:xfrm>
              <a:off x="1243698" y="4070172"/>
              <a:ext cx="105745" cy="611734"/>
            </a:xfrm>
            <a:custGeom>
              <a:avLst/>
              <a:gdLst/>
              <a:ahLst/>
              <a:cxnLst/>
              <a:rect l="l" t="t" r="r" b="b"/>
              <a:pathLst>
                <a:path w="189678" h="1097280" extrusionOk="0">
                  <a:moveTo>
                    <a:pt x="0" y="0"/>
                  </a:moveTo>
                  <a:lnTo>
                    <a:pt x="189679" y="0"/>
                  </a:lnTo>
                  <a:lnTo>
                    <a:pt x="189679" y="1097280"/>
                  </a:lnTo>
                  <a:lnTo>
                    <a:pt x="0" y="109728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0" name="Google Shape;920;p45"/>
            <p:cNvSpPr/>
            <p:nvPr/>
          </p:nvSpPr>
          <p:spPr>
            <a:xfrm>
              <a:off x="-32968" y="4087783"/>
              <a:ext cx="1329975" cy="420315"/>
            </a:xfrm>
            <a:custGeom>
              <a:avLst/>
              <a:gdLst/>
              <a:ahLst/>
              <a:cxnLst/>
              <a:rect l="l" t="t" r="r" b="b"/>
              <a:pathLst>
                <a:path w="2385606" h="753929" extrusionOk="0">
                  <a:moveTo>
                    <a:pt x="0" y="0"/>
                  </a:moveTo>
                  <a:lnTo>
                    <a:pt x="340844" y="555135"/>
                  </a:lnTo>
                  <a:lnTo>
                    <a:pt x="681613" y="262147"/>
                  </a:lnTo>
                  <a:lnTo>
                    <a:pt x="1022381" y="0"/>
                  </a:lnTo>
                  <a:lnTo>
                    <a:pt x="1363225" y="0"/>
                  </a:lnTo>
                  <a:lnTo>
                    <a:pt x="1703993" y="517077"/>
                  </a:lnTo>
                  <a:lnTo>
                    <a:pt x="2044838" y="753929"/>
                  </a:lnTo>
                  <a:lnTo>
                    <a:pt x="2385606"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1" name="Google Shape;921;p45"/>
            <p:cNvSpPr/>
            <p:nvPr/>
          </p:nvSpPr>
          <p:spPr>
            <a:xfrm>
              <a:off x="-61417" y="4059335"/>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2" name="Google Shape;922;p45"/>
            <p:cNvSpPr/>
            <p:nvPr/>
          </p:nvSpPr>
          <p:spPr>
            <a:xfrm>
              <a:off x="128536" y="4354614"/>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3" name="Google Shape;923;p45"/>
            <p:cNvSpPr/>
            <p:nvPr/>
          </p:nvSpPr>
          <p:spPr>
            <a:xfrm>
              <a:off x="318446" y="4189385"/>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4" name="Google Shape;924;p45"/>
            <p:cNvSpPr/>
            <p:nvPr/>
          </p:nvSpPr>
          <p:spPr>
            <a:xfrm>
              <a:off x="508356" y="4059335"/>
              <a:ext cx="56917" cy="56917"/>
            </a:xfrm>
            <a:custGeom>
              <a:avLst/>
              <a:gdLst/>
              <a:ahLst/>
              <a:cxnLst/>
              <a:rect l="l" t="t" r="r" b="b"/>
              <a:pathLst>
                <a:path w="102093" h="102093" extrusionOk="0">
                  <a:moveTo>
                    <a:pt x="102094" y="51047"/>
                  </a:moveTo>
                  <a:cubicBezTo>
                    <a:pt x="102094" y="79239"/>
                    <a:pt x="79239" y="102094"/>
                    <a:pt x="51047" y="102094"/>
                  </a:cubicBezTo>
                  <a:cubicBezTo>
                    <a:pt x="22855" y="102094"/>
                    <a:pt x="0" y="79239"/>
                    <a:pt x="0" y="51047"/>
                  </a:cubicBezTo>
                  <a:cubicBezTo>
                    <a:pt x="0" y="22854"/>
                    <a:pt x="22855" y="0"/>
                    <a:pt x="51047" y="0"/>
                  </a:cubicBezTo>
                  <a:cubicBezTo>
                    <a:pt x="79239" y="0"/>
                    <a:pt x="102094" y="22854"/>
                    <a:pt x="102094" y="5104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5" name="Google Shape;925;p45"/>
            <p:cNvSpPr/>
            <p:nvPr/>
          </p:nvSpPr>
          <p:spPr>
            <a:xfrm>
              <a:off x="698309" y="4059335"/>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6" name="Google Shape;926;p45"/>
            <p:cNvSpPr/>
            <p:nvPr/>
          </p:nvSpPr>
          <p:spPr>
            <a:xfrm>
              <a:off x="893172" y="4336368"/>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7" name="Google Shape;927;p45"/>
            <p:cNvSpPr/>
            <p:nvPr/>
          </p:nvSpPr>
          <p:spPr>
            <a:xfrm>
              <a:off x="1078172" y="4457909"/>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8" name="Google Shape;928;p45"/>
            <p:cNvSpPr/>
            <p:nvPr/>
          </p:nvSpPr>
          <p:spPr>
            <a:xfrm>
              <a:off x="1268082" y="4046253"/>
              <a:ext cx="56917" cy="56917"/>
            </a:xfrm>
            <a:custGeom>
              <a:avLst/>
              <a:gdLst/>
              <a:ahLst/>
              <a:cxnLst/>
              <a:rect l="l" t="t" r="r" b="b"/>
              <a:pathLst>
                <a:path w="102093" h="102093" extrusionOk="0">
                  <a:moveTo>
                    <a:pt x="102094" y="51047"/>
                  </a:moveTo>
                  <a:cubicBezTo>
                    <a:pt x="102094" y="79239"/>
                    <a:pt x="79239" y="102094"/>
                    <a:pt x="51047" y="102094"/>
                  </a:cubicBezTo>
                  <a:cubicBezTo>
                    <a:pt x="22854" y="102094"/>
                    <a:pt x="0" y="79239"/>
                    <a:pt x="0" y="51047"/>
                  </a:cubicBezTo>
                  <a:cubicBezTo>
                    <a:pt x="0" y="22854"/>
                    <a:pt x="22854" y="0"/>
                    <a:pt x="51047" y="0"/>
                  </a:cubicBezTo>
                  <a:cubicBezTo>
                    <a:pt x="79239" y="0"/>
                    <a:pt x="102094" y="22854"/>
                    <a:pt x="102094" y="5104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29" name="Google Shape;929;p45"/>
            <p:cNvSpPr/>
            <p:nvPr/>
          </p:nvSpPr>
          <p:spPr>
            <a:xfrm>
              <a:off x="-215300" y="3851305"/>
              <a:ext cx="1694813" cy="830678"/>
            </a:xfrm>
            <a:custGeom>
              <a:avLst/>
              <a:gdLst/>
              <a:ahLst/>
              <a:cxnLst/>
              <a:rect l="l" t="t" r="r" b="b"/>
              <a:pathLst>
                <a:path w="3040023" h="1490006" extrusionOk="0">
                  <a:moveTo>
                    <a:pt x="2916053" y="1490007"/>
                  </a:moveTo>
                  <a:lnTo>
                    <a:pt x="123971" y="1490007"/>
                  </a:lnTo>
                  <a:cubicBezTo>
                    <a:pt x="55529" y="1490007"/>
                    <a:pt x="0" y="1434478"/>
                    <a:pt x="0" y="1366036"/>
                  </a:cubicBezTo>
                  <a:lnTo>
                    <a:pt x="0" y="123971"/>
                  </a:lnTo>
                  <a:cubicBezTo>
                    <a:pt x="0" y="55529"/>
                    <a:pt x="55529" y="0"/>
                    <a:pt x="123971" y="0"/>
                  </a:cubicBezTo>
                  <a:lnTo>
                    <a:pt x="2916053" y="0"/>
                  </a:lnTo>
                  <a:cubicBezTo>
                    <a:pt x="2984495" y="0"/>
                    <a:pt x="3040024" y="55529"/>
                    <a:pt x="3040024" y="123971"/>
                  </a:cubicBezTo>
                  <a:lnTo>
                    <a:pt x="3040024" y="1366036"/>
                  </a:lnTo>
                  <a:cubicBezTo>
                    <a:pt x="3040024" y="1434554"/>
                    <a:pt x="2984495" y="1490007"/>
                    <a:pt x="2916053" y="1490007"/>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930" name="Google Shape;930;p45"/>
          <p:cNvGrpSpPr/>
          <p:nvPr/>
        </p:nvGrpSpPr>
        <p:grpSpPr>
          <a:xfrm>
            <a:off x="1587751" y="3871120"/>
            <a:ext cx="1536351" cy="1024197"/>
            <a:chOff x="5491417" y="588600"/>
            <a:chExt cx="1098728" cy="732459"/>
          </a:xfrm>
        </p:grpSpPr>
        <p:sp>
          <p:nvSpPr>
            <p:cNvPr id="931" name="Google Shape;931;p45"/>
            <p:cNvSpPr/>
            <p:nvPr/>
          </p:nvSpPr>
          <p:spPr>
            <a:xfrm>
              <a:off x="5491417" y="588600"/>
              <a:ext cx="183058" cy="183057"/>
            </a:xfrm>
            <a:custGeom>
              <a:avLst/>
              <a:gdLst/>
              <a:ahLst/>
              <a:cxnLst/>
              <a:rect l="l" t="t" r="r" b="b"/>
              <a:pathLst>
                <a:path w="254247" h="254246" extrusionOk="0">
                  <a:moveTo>
                    <a:pt x="254248" y="254247"/>
                  </a:moveTo>
                  <a:lnTo>
                    <a:pt x="0" y="254247"/>
                  </a:lnTo>
                  <a:lnTo>
                    <a:pt x="0" y="106044"/>
                  </a:lnTo>
                  <a:cubicBezTo>
                    <a:pt x="0" y="47477"/>
                    <a:pt x="47477" y="0"/>
                    <a:pt x="106044" y="0"/>
                  </a:cubicBezTo>
                  <a:lnTo>
                    <a:pt x="254248" y="0"/>
                  </a:lnTo>
                  <a:lnTo>
                    <a:pt x="254248"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2" name="Google Shape;932;p45"/>
            <p:cNvSpPr/>
            <p:nvPr/>
          </p:nvSpPr>
          <p:spPr>
            <a:xfrm>
              <a:off x="5491417" y="771734"/>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3" name="Google Shape;933;p45"/>
            <p:cNvSpPr/>
            <p:nvPr/>
          </p:nvSpPr>
          <p:spPr>
            <a:xfrm>
              <a:off x="5491417" y="954868"/>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4" name="Google Shape;934;p45"/>
            <p:cNvSpPr/>
            <p:nvPr/>
          </p:nvSpPr>
          <p:spPr>
            <a:xfrm>
              <a:off x="5491417" y="1138002"/>
              <a:ext cx="183058" cy="183002"/>
            </a:xfrm>
            <a:custGeom>
              <a:avLst/>
              <a:gdLst/>
              <a:ahLst/>
              <a:cxnLst/>
              <a:rect l="l" t="t" r="r" b="b"/>
              <a:pathLst>
                <a:path w="254247" h="254170" extrusionOk="0">
                  <a:moveTo>
                    <a:pt x="254248" y="254171"/>
                  </a:moveTo>
                  <a:lnTo>
                    <a:pt x="106044" y="254171"/>
                  </a:lnTo>
                  <a:cubicBezTo>
                    <a:pt x="47477" y="254171"/>
                    <a:pt x="0" y="206694"/>
                    <a:pt x="0" y="148127"/>
                  </a:cubicBezTo>
                  <a:lnTo>
                    <a:pt x="0" y="0"/>
                  </a:lnTo>
                  <a:lnTo>
                    <a:pt x="254248" y="0"/>
                  </a:lnTo>
                  <a:lnTo>
                    <a:pt x="254248" y="254171"/>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5" name="Google Shape;935;p45"/>
            <p:cNvSpPr/>
            <p:nvPr/>
          </p:nvSpPr>
          <p:spPr>
            <a:xfrm>
              <a:off x="5674551" y="588600"/>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6" name="Google Shape;936;p45"/>
            <p:cNvSpPr/>
            <p:nvPr/>
          </p:nvSpPr>
          <p:spPr>
            <a:xfrm>
              <a:off x="5674551" y="771734"/>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7" name="Google Shape;937;p45"/>
            <p:cNvSpPr/>
            <p:nvPr/>
          </p:nvSpPr>
          <p:spPr>
            <a:xfrm>
              <a:off x="5674551" y="954868"/>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8" name="Google Shape;938;p45"/>
            <p:cNvSpPr/>
            <p:nvPr/>
          </p:nvSpPr>
          <p:spPr>
            <a:xfrm>
              <a:off x="5674551" y="1138002"/>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39" name="Google Shape;939;p45"/>
            <p:cNvSpPr/>
            <p:nvPr/>
          </p:nvSpPr>
          <p:spPr>
            <a:xfrm>
              <a:off x="5857685" y="588600"/>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0" name="Google Shape;940;p45"/>
            <p:cNvSpPr/>
            <p:nvPr/>
          </p:nvSpPr>
          <p:spPr>
            <a:xfrm>
              <a:off x="5857685" y="771734"/>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1" name="Google Shape;941;p45"/>
            <p:cNvSpPr/>
            <p:nvPr/>
          </p:nvSpPr>
          <p:spPr>
            <a:xfrm>
              <a:off x="5857685" y="954868"/>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2" name="Google Shape;942;p45"/>
            <p:cNvSpPr/>
            <p:nvPr/>
          </p:nvSpPr>
          <p:spPr>
            <a:xfrm>
              <a:off x="5857685" y="1138002"/>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3" name="Google Shape;943;p45"/>
            <p:cNvSpPr/>
            <p:nvPr/>
          </p:nvSpPr>
          <p:spPr>
            <a:xfrm>
              <a:off x="6040819" y="588600"/>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4" name="Google Shape;944;p45"/>
            <p:cNvSpPr/>
            <p:nvPr/>
          </p:nvSpPr>
          <p:spPr>
            <a:xfrm>
              <a:off x="6040819" y="771734"/>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5" name="Google Shape;945;p45"/>
            <p:cNvSpPr/>
            <p:nvPr/>
          </p:nvSpPr>
          <p:spPr>
            <a:xfrm>
              <a:off x="6040819" y="954868"/>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6" name="Google Shape;946;p45"/>
            <p:cNvSpPr/>
            <p:nvPr/>
          </p:nvSpPr>
          <p:spPr>
            <a:xfrm>
              <a:off x="6040819" y="1138002"/>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7" name="Google Shape;947;p45"/>
            <p:cNvSpPr/>
            <p:nvPr/>
          </p:nvSpPr>
          <p:spPr>
            <a:xfrm>
              <a:off x="6223953" y="588600"/>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8" name="Google Shape;948;p45"/>
            <p:cNvSpPr/>
            <p:nvPr/>
          </p:nvSpPr>
          <p:spPr>
            <a:xfrm>
              <a:off x="6223953" y="771734"/>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49" name="Google Shape;949;p45"/>
            <p:cNvSpPr/>
            <p:nvPr/>
          </p:nvSpPr>
          <p:spPr>
            <a:xfrm>
              <a:off x="6223953" y="954868"/>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0" name="Google Shape;950;p45"/>
            <p:cNvSpPr/>
            <p:nvPr/>
          </p:nvSpPr>
          <p:spPr>
            <a:xfrm>
              <a:off x="6223953" y="1138002"/>
              <a:ext cx="183057" cy="183057"/>
            </a:xfrm>
            <a:custGeom>
              <a:avLst/>
              <a:gdLst/>
              <a:ahLst/>
              <a:cxnLst/>
              <a:rect l="l" t="t" r="r" b="b"/>
              <a:pathLst>
                <a:path w="254246" h="254246" extrusionOk="0">
                  <a:moveTo>
                    <a:pt x="0" y="0"/>
                  </a:moveTo>
                  <a:lnTo>
                    <a:pt x="254246" y="0"/>
                  </a:lnTo>
                  <a:lnTo>
                    <a:pt x="254246"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1" name="Google Shape;951;p45"/>
            <p:cNvSpPr/>
            <p:nvPr/>
          </p:nvSpPr>
          <p:spPr>
            <a:xfrm>
              <a:off x="6407087" y="588600"/>
              <a:ext cx="183057" cy="183057"/>
            </a:xfrm>
            <a:custGeom>
              <a:avLst/>
              <a:gdLst/>
              <a:ahLst/>
              <a:cxnLst/>
              <a:rect l="l" t="t" r="r" b="b"/>
              <a:pathLst>
                <a:path w="254246" h="254246" extrusionOk="0">
                  <a:moveTo>
                    <a:pt x="254247" y="254247"/>
                  </a:moveTo>
                  <a:lnTo>
                    <a:pt x="0" y="254247"/>
                  </a:lnTo>
                  <a:lnTo>
                    <a:pt x="0" y="0"/>
                  </a:lnTo>
                  <a:lnTo>
                    <a:pt x="148203" y="0"/>
                  </a:lnTo>
                  <a:cubicBezTo>
                    <a:pt x="206770" y="0"/>
                    <a:pt x="254247" y="47477"/>
                    <a:pt x="254247" y="106044"/>
                  </a:cubicBezTo>
                  <a:lnTo>
                    <a:pt x="254247"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2" name="Google Shape;952;p45"/>
            <p:cNvSpPr/>
            <p:nvPr/>
          </p:nvSpPr>
          <p:spPr>
            <a:xfrm>
              <a:off x="6407087" y="771734"/>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3" name="Google Shape;953;p45"/>
            <p:cNvSpPr/>
            <p:nvPr/>
          </p:nvSpPr>
          <p:spPr>
            <a:xfrm>
              <a:off x="6407087" y="954868"/>
              <a:ext cx="183057" cy="183057"/>
            </a:xfrm>
            <a:custGeom>
              <a:avLst/>
              <a:gdLst/>
              <a:ahLst/>
              <a:cxnLst/>
              <a:rect l="l" t="t" r="r" b="b"/>
              <a:pathLst>
                <a:path w="254246" h="254246" extrusionOk="0">
                  <a:moveTo>
                    <a:pt x="0" y="0"/>
                  </a:moveTo>
                  <a:lnTo>
                    <a:pt x="254247" y="0"/>
                  </a:lnTo>
                  <a:lnTo>
                    <a:pt x="254247" y="254247"/>
                  </a:lnTo>
                  <a:lnTo>
                    <a:pt x="0" y="254247"/>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4" name="Google Shape;954;p45"/>
            <p:cNvSpPr/>
            <p:nvPr/>
          </p:nvSpPr>
          <p:spPr>
            <a:xfrm>
              <a:off x="6407032" y="1138002"/>
              <a:ext cx="183057" cy="183002"/>
            </a:xfrm>
            <a:custGeom>
              <a:avLst/>
              <a:gdLst/>
              <a:ahLst/>
              <a:cxnLst/>
              <a:rect l="l" t="t" r="r" b="b"/>
              <a:pathLst>
                <a:path w="254246" h="254170" extrusionOk="0">
                  <a:moveTo>
                    <a:pt x="148203" y="254171"/>
                  </a:moveTo>
                  <a:lnTo>
                    <a:pt x="0" y="254171"/>
                  </a:lnTo>
                  <a:lnTo>
                    <a:pt x="0" y="0"/>
                  </a:lnTo>
                  <a:lnTo>
                    <a:pt x="254247" y="0"/>
                  </a:lnTo>
                  <a:lnTo>
                    <a:pt x="254247" y="148203"/>
                  </a:lnTo>
                  <a:cubicBezTo>
                    <a:pt x="254323" y="206694"/>
                    <a:pt x="206770" y="254171"/>
                    <a:pt x="148203" y="25417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5" name="Google Shape;955;p45"/>
            <p:cNvSpPr/>
            <p:nvPr/>
          </p:nvSpPr>
          <p:spPr>
            <a:xfrm>
              <a:off x="5646646" y="740710"/>
              <a:ext cx="55786" cy="55786"/>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76"/>
                    <a:pt x="77482" y="1739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6" name="Google Shape;956;p45"/>
            <p:cNvSpPr/>
            <p:nvPr/>
          </p:nvSpPr>
          <p:spPr>
            <a:xfrm>
              <a:off x="5741250" y="831703"/>
              <a:ext cx="55786" cy="55786"/>
            </a:xfrm>
            <a:custGeom>
              <a:avLst/>
              <a:gdLst/>
              <a:ahLst/>
              <a:cxnLst/>
              <a:rect l="l" t="t" r="r" b="b"/>
              <a:pathLst>
                <a:path w="77481" h="77481" extrusionOk="0">
                  <a:moveTo>
                    <a:pt x="77482" y="38741"/>
                  </a:moveTo>
                  <a:cubicBezTo>
                    <a:pt x="77482" y="60137"/>
                    <a:pt x="60138" y="77482"/>
                    <a:pt x="38741" y="77482"/>
                  </a:cubicBezTo>
                  <a:cubicBezTo>
                    <a:pt x="17345" y="77482"/>
                    <a:pt x="1" y="60137"/>
                    <a:pt x="1" y="38741"/>
                  </a:cubicBezTo>
                  <a:cubicBezTo>
                    <a:pt x="1" y="17345"/>
                    <a:pt x="17345" y="0"/>
                    <a:pt x="38741" y="0"/>
                  </a:cubicBezTo>
                  <a:cubicBezTo>
                    <a:pt x="60138" y="0"/>
                    <a:pt x="77482" y="1734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7" name="Google Shape;957;p45"/>
            <p:cNvSpPr/>
            <p:nvPr/>
          </p:nvSpPr>
          <p:spPr>
            <a:xfrm>
              <a:off x="5961208" y="633029"/>
              <a:ext cx="55786" cy="55786"/>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0"/>
                    <a:pt x="77482" y="17395"/>
                    <a:pt x="77482" y="387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8" name="Google Shape;958;p45"/>
            <p:cNvSpPr/>
            <p:nvPr/>
          </p:nvSpPr>
          <p:spPr>
            <a:xfrm>
              <a:off x="5829780" y="990597"/>
              <a:ext cx="55786" cy="55786"/>
            </a:xfrm>
            <a:custGeom>
              <a:avLst/>
              <a:gdLst/>
              <a:ahLst/>
              <a:cxnLst/>
              <a:rect l="l" t="t" r="r" b="b"/>
              <a:pathLst>
                <a:path w="77481" h="77481" extrusionOk="0">
                  <a:moveTo>
                    <a:pt x="77482" y="38741"/>
                  </a:moveTo>
                  <a:cubicBezTo>
                    <a:pt x="77482" y="60162"/>
                    <a:pt x="60162" y="77482"/>
                    <a:pt x="38741" y="77482"/>
                  </a:cubicBezTo>
                  <a:cubicBezTo>
                    <a:pt x="17320" y="77482"/>
                    <a:pt x="0" y="60162"/>
                    <a:pt x="0" y="38741"/>
                  </a:cubicBezTo>
                  <a:cubicBezTo>
                    <a:pt x="0" y="17319"/>
                    <a:pt x="17320" y="0"/>
                    <a:pt x="38741" y="0"/>
                  </a:cubicBezTo>
                  <a:cubicBezTo>
                    <a:pt x="60086" y="0"/>
                    <a:pt x="77482" y="17395"/>
                    <a:pt x="77482" y="3874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59" name="Google Shape;959;p45"/>
            <p:cNvSpPr/>
            <p:nvPr/>
          </p:nvSpPr>
          <p:spPr>
            <a:xfrm>
              <a:off x="6099858" y="1214768"/>
              <a:ext cx="55786" cy="55786"/>
            </a:xfrm>
            <a:custGeom>
              <a:avLst/>
              <a:gdLst/>
              <a:ahLst/>
              <a:cxnLst/>
              <a:rect l="l" t="t" r="r" b="b"/>
              <a:pathLst>
                <a:path w="77481" h="77481" extrusionOk="0">
                  <a:moveTo>
                    <a:pt x="77482" y="38741"/>
                  </a:moveTo>
                  <a:cubicBezTo>
                    <a:pt x="77482" y="60137"/>
                    <a:pt x="60137" y="77482"/>
                    <a:pt x="38741" y="77482"/>
                  </a:cubicBezTo>
                  <a:cubicBezTo>
                    <a:pt x="17345" y="77482"/>
                    <a:pt x="0" y="60137"/>
                    <a:pt x="0" y="38741"/>
                  </a:cubicBezTo>
                  <a:cubicBezTo>
                    <a:pt x="0" y="17345"/>
                    <a:pt x="17345" y="0"/>
                    <a:pt x="38741" y="0"/>
                  </a:cubicBezTo>
                  <a:cubicBezTo>
                    <a:pt x="60137" y="0"/>
                    <a:pt x="77482" y="17345"/>
                    <a:pt x="77482" y="38741"/>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0" name="Google Shape;960;p45"/>
            <p:cNvSpPr/>
            <p:nvPr/>
          </p:nvSpPr>
          <p:spPr>
            <a:xfrm>
              <a:off x="5891007" y="926963"/>
              <a:ext cx="55786" cy="55786"/>
            </a:xfrm>
            <a:custGeom>
              <a:avLst/>
              <a:gdLst/>
              <a:ahLst/>
              <a:cxnLst/>
              <a:rect l="l" t="t" r="r" b="b"/>
              <a:pathLst>
                <a:path w="77481" h="77481" extrusionOk="0">
                  <a:moveTo>
                    <a:pt x="77482" y="38741"/>
                  </a:moveTo>
                  <a:cubicBezTo>
                    <a:pt x="77482" y="60137"/>
                    <a:pt x="60137" y="77482"/>
                    <a:pt x="38741" y="77482"/>
                  </a:cubicBezTo>
                  <a:cubicBezTo>
                    <a:pt x="17345" y="77482"/>
                    <a:pt x="1" y="60137"/>
                    <a:pt x="1" y="38741"/>
                  </a:cubicBezTo>
                  <a:cubicBezTo>
                    <a:pt x="1" y="17345"/>
                    <a:pt x="17345" y="0"/>
                    <a:pt x="38741" y="0"/>
                  </a:cubicBezTo>
                  <a:cubicBezTo>
                    <a:pt x="60137" y="0"/>
                    <a:pt x="77482" y="17345"/>
                    <a:pt x="77482" y="3874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1" name="Google Shape;961;p45"/>
            <p:cNvSpPr/>
            <p:nvPr/>
          </p:nvSpPr>
          <p:spPr>
            <a:xfrm>
              <a:off x="5543343" y="633029"/>
              <a:ext cx="55786" cy="55786"/>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086" y="0"/>
                    <a:pt x="77482" y="17395"/>
                    <a:pt x="77482" y="38741"/>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2" name="Google Shape;962;p45"/>
            <p:cNvSpPr/>
            <p:nvPr/>
          </p:nvSpPr>
          <p:spPr>
            <a:xfrm>
              <a:off x="5829780" y="850142"/>
              <a:ext cx="55786" cy="55786"/>
            </a:xfrm>
            <a:custGeom>
              <a:avLst/>
              <a:gdLst/>
              <a:ahLst/>
              <a:cxnLst/>
              <a:rect l="l" t="t" r="r" b="b"/>
              <a:pathLst>
                <a:path w="77481" h="77481" extrusionOk="0">
                  <a:moveTo>
                    <a:pt x="77482" y="38741"/>
                  </a:moveTo>
                  <a:cubicBezTo>
                    <a:pt x="77482" y="60162"/>
                    <a:pt x="60162" y="77482"/>
                    <a:pt x="38741" y="77482"/>
                  </a:cubicBezTo>
                  <a:cubicBezTo>
                    <a:pt x="17320" y="77482"/>
                    <a:pt x="0" y="60162"/>
                    <a:pt x="0" y="38741"/>
                  </a:cubicBezTo>
                  <a:cubicBezTo>
                    <a:pt x="0" y="17319"/>
                    <a:pt x="17320" y="0"/>
                    <a:pt x="38741" y="0"/>
                  </a:cubicBezTo>
                  <a:cubicBezTo>
                    <a:pt x="60086" y="0"/>
                    <a:pt x="77482" y="17319"/>
                    <a:pt x="77482" y="387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3" name="Google Shape;963;p45"/>
            <p:cNvSpPr/>
            <p:nvPr/>
          </p:nvSpPr>
          <p:spPr>
            <a:xfrm>
              <a:off x="5741250" y="935444"/>
              <a:ext cx="55786" cy="55786"/>
            </a:xfrm>
            <a:custGeom>
              <a:avLst/>
              <a:gdLst/>
              <a:ahLst/>
              <a:cxnLst/>
              <a:rect l="l" t="t" r="r" b="b"/>
              <a:pathLst>
                <a:path w="77481" h="77481" extrusionOk="0">
                  <a:moveTo>
                    <a:pt x="77482" y="38741"/>
                  </a:moveTo>
                  <a:cubicBezTo>
                    <a:pt x="77482" y="60137"/>
                    <a:pt x="60138" y="77482"/>
                    <a:pt x="38741" y="77482"/>
                  </a:cubicBezTo>
                  <a:cubicBezTo>
                    <a:pt x="17345" y="77482"/>
                    <a:pt x="1" y="60137"/>
                    <a:pt x="1" y="38741"/>
                  </a:cubicBezTo>
                  <a:cubicBezTo>
                    <a:pt x="1" y="17345"/>
                    <a:pt x="17345" y="0"/>
                    <a:pt x="38741" y="0"/>
                  </a:cubicBezTo>
                  <a:cubicBezTo>
                    <a:pt x="60138" y="0"/>
                    <a:pt x="77482" y="17345"/>
                    <a:pt x="77482" y="387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4" name="Google Shape;964;p45"/>
            <p:cNvSpPr/>
            <p:nvPr/>
          </p:nvSpPr>
          <p:spPr>
            <a:xfrm>
              <a:off x="5575516" y="1018503"/>
              <a:ext cx="55786" cy="55786"/>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086" y="0"/>
                    <a:pt x="77482" y="1739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5" name="Google Shape;965;p45"/>
            <p:cNvSpPr/>
            <p:nvPr/>
          </p:nvSpPr>
          <p:spPr>
            <a:xfrm>
              <a:off x="5547610" y="1173732"/>
              <a:ext cx="55787" cy="55786"/>
            </a:xfrm>
            <a:custGeom>
              <a:avLst/>
              <a:gdLst/>
              <a:ahLst/>
              <a:cxnLst/>
              <a:rect l="l" t="t" r="r" b="b"/>
              <a:pathLst>
                <a:path w="77482" h="77481" extrusionOk="0">
                  <a:moveTo>
                    <a:pt x="77482" y="38741"/>
                  </a:moveTo>
                  <a:cubicBezTo>
                    <a:pt x="77482" y="60162"/>
                    <a:pt x="60163" y="77482"/>
                    <a:pt x="38742" y="77482"/>
                  </a:cubicBezTo>
                  <a:cubicBezTo>
                    <a:pt x="17320" y="77482"/>
                    <a:pt x="0" y="60162"/>
                    <a:pt x="0" y="38741"/>
                  </a:cubicBezTo>
                  <a:cubicBezTo>
                    <a:pt x="0" y="17320"/>
                    <a:pt x="17320" y="0"/>
                    <a:pt x="38742" y="0"/>
                  </a:cubicBezTo>
                  <a:cubicBezTo>
                    <a:pt x="60163" y="0"/>
                    <a:pt x="77482" y="17396"/>
                    <a:pt x="77482" y="38741"/>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6" name="Google Shape;966;p45"/>
            <p:cNvSpPr/>
            <p:nvPr/>
          </p:nvSpPr>
          <p:spPr>
            <a:xfrm>
              <a:off x="5646646" y="878047"/>
              <a:ext cx="55786" cy="55786"/>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0"/>
                    <a:pt x="77482" y="17319"/>
                    <a:pt x="77482" y="3874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67" name="Google Shape;967;p45"/>
            <p:cNvSpPr/>
            <p:nvPr/>
          </p:nvSpPr>
          <p:spPr>
            <a:xfrm>
              <a:off x="6292621" y="803852"/>
              <a:ext cx="55786" cy="55786"/>
            </a:xfrm>
            <a:custGeom>
              <a:avLst/>
              <a:gdLst/>
              <a:ahLst/>
              <a:cxnLst/>
              <a:rect l="l" t="t" r="r" b="b"/>
              <a:pathLst>
                <a:path w="77481" h="77481" extrusionOk="0">
                  <a:moveTo>
                    <a:pt x="77482" y="38741"/>
                  </a:moveTo>
                  <a:cubicBezTo>
                    <a:pt x="77482" y="60162"/>
                    <a:pt x="60163" y="77482"/>
                    <a:pt x="38741" y="77482"/>
                  </a:cubicBezTo>
                  <a:cubicBezTo>
                    <a:pt x="17320" y="77482"/>
                    <a:pt x="0" y="60162"/>
                    <a:pt x="0" y="38741"/>
                  </a:cubicBezTo>
                  <a:cubicBezTo>
                    <a:pt x="0" y="17319"/>
                    <a:pt x="17320" y="0"/>
                    <a:pt x="38741" y="0"/>
                  </a:cubicBezTo>
                  <a:cubicBezTo>
                    <a:pt x="60163" y="0"/>
                    <a:pt x="77482" y="17319"/>
                    <a:pt x="77482" y="3874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7" name="Google Shape;1110;p50">
            <a:extLst>
              <a:ext uri="{FF2B5EF4-FFF2-40B4-BE49-F238E27FC236}">
                <a16:creationId xmlns:a16="http://schemas.microsoft.com/office/drawing/2014/main" id="{63942D36-80F7-1ED5-4DF3-F8943B383F53}"/>
              </a:ext>
            </a:extLst>
          </p:cNvPr>
          <p:cNvSpPr txBox="1">
            <a:spLocks noGrp="1"/>
          </p:cNvSpPr>
          <p:nvPr>
            <p:ph type="title"/>
          </p:nvPr>
        </p:nvSpPr>
        <p:spPr>
          <a:xfrm>
            <a:off x="2146498" y="1938944"/>
            <a:ext cx="4448100" cy="11769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hanks!</a:t>
            </a:r>
            <a:endParaRPr dirty="0"/>
          </a:p>
        </p:txBody>
      </p:sp>
      <p:grpSp>
        <p:nvGrpSpPr>
          <p:cNvPr id="975" name="Google Shape;1154;p50">
            <a:extLst>
              <a:ext uri="{FF2B5EF4-FFF2-40B4-BE49-F238E27FC236}">
                <a16:creationId xmlns:a16="http://schemas.microsoft.com/office/drawing/2014/main" id="{2E11446C-EA74-4C28-C3DC-E1B553ED4F71}"/>
              </a:ext>
            </a:extLst>
          </p:cNvPr>
          <p:cNvGrpSpPr/>
          <p:nvPr/>
        </p:nvGrpSpPr>
        <p:grpSpPr>
          <a:xfrm>
            <a:off x="7636455" y="2729777"/>
            <a:ext cx="902056" cy="901976"/>
            <a:chOff x="4246593" y="503852"/>
            <a:chExt cx="902056" cy="901976"/>
          </a:xfrm>
        </p:grpSpPr>
        <p:grpSp>
          <p:nvGrpSpPr>
            <p:cNvPr id="976" name="Google Shape;1155;p50">
              <a:extLst>
                <a:ext uri="{FF2B5EF4-FFF2-40B4-BE49-F238E27FC236}">
                  <a16:creationId xmlns:a16="http://schemas.microsoft.com/office/drawing/2014/main" id="{1F041633-4710-CBA0-C410-7EF5D5DA7CA6}"/>
                </a:ext>
              </a:extLst>
            </p:cNvPr>
            <p:cNvGrpSpPr/>
            <p:nvPr/>
          </p:nvGrpSpPr>
          <p:grpSpPr>
            <a:xfrm>
              <a:off x="4246593" y="503900"/>
              <a:ext cx="901831" cy="901928"/>
              <a:chOff x="5998919" y="3270921"/>
              <a:chExt cx="1426046" cy="1426198"/>
            </a:xfrm>
          </p:grpSpPr>
          <p:sp>
            <p:nvSpPr>
              <p:cNvPr id="983" name="Google Shape;1156;p50">
                <a:extLst>
                  <a:ext uri="{FF2B5EF4-FFF2-40B4-BE49-F238E27FC236}">
                    <a16:creationId xmlns:a16="http://schemas.microsoft.com/office/drawing/2014/main" id="{16E29CF1-C4FC-3687-F891-87883C92DE03}"/>
                  </a:ext>
                </a:extLst>
              </p:cNvPr>
              <p:cNvSpPr/>
              <p:nvPr/>
            </p:nvSpPr>
            <p:spPr>
              <a:xfrm>
                <a:off x="5998919" y="3270921"/>
                <a:ext cx="713137" cy="713137"/>
              </a:xfrm>
              <a:custGeom>
                <a:avLst/>
                <a:gdLst/>
                <a:ahLst/>
                <a:cxnLst/>
                <a:rect l="l" t="t" r="r" b="b"/>
                <a:pathLst>
                  <a:path w="713137" h="713137" extrusionOk="0">
                    <a:moveTo>
                      <a:pt x="713137" y="521407"/>
                    </a:moveTo>
                    <a:lnTo>
                      <a:pt x="713137" y="0"/>
                    </a:lnTo>
                    <a:cubicBezTo>
                      <a:pt x="319271" y="0"/>
                      <a:pt x="0" y="319271"/>
                      <a:pt x="0" y="713137"/>
                    </a:cubicBezTo>
                    <a:lnTo>
                      <a:pt x="521408" y="713137"/>
                    </a:lnTo>
                    <a:cubicBezTo>
                      <a:pt x="521408" y="607245"/>
                      <a:pt x="607245" y="521407"/>
                      <a:pt x="713137" y="52140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84" name="Google Shape;1157;p50">
                <a:extLst>
                  <a:ext uri="{FF2B5EF4-FFF2-40B4-BE49-F238E27FC236}">
                    <a16:creationId xmlns:a16="http://schemas.microsoft.com/office/drawing/2014/main" id="{6040F31E-7DAD-C4A0-D19B-50EBDF971AF7}"/>
                  </a:ext>
                </a:extLst>
              </p:cNvPr>
              <p:cNvSpPr/>
              <p:nvPr/>
            </p:nvSpPr>
            <p:spPr>
              <a:xfrm>
                <a:off x="5998919" y="3983982"/>
                <a:ext cx="1426046" cy="713137"/>
              </a:xfrm>
              <a:custGeom>
                <a:avLst/>
                <a:gdLst/>
                <a:ahLst/>
                <a:cxnLst/>
                <a:rect l="l" t="t" r="r" b="b"/>
                <a:pathLst>
                  <a:path w="1426046" h="713137" extrusionOk="0">
                    <a:moveTo>
                      <a:pt x="904715" y="5165"/>
                    </a:moveTo>
                    <a:cubicBezTo>
                      <a:pt x="901981" y="108702"/>
                      <a:pt x="817282" y="191730"/>
                      <a:pt x="713137" y="191730"/>
                    </a:cubicBezTo>
                    <a:cubicBezTo>
                      <a:pt x="607245" y="191730"/>
                      <a:pt x="521408" y="105892"/>
                      <a:pt x="521408" y="0"/>
                    </a:cubicBezTo>
                    <a:lnTo>
                      <a:pt x="0" y="0"/>
                    </a:lnTo>
                    <a:cubicBezTo>
                      <a:pt x="0" y="393866"/>
                      <a:pt x="319271" y="713137"/>
                      <a:pt x="713137" y="713137"/>
                    </a:cubicBezTo>
                    <a:cubicBezTo>
                      <a:pt x="1100623" y="713137"/>
                      <a:pt x="1415867" y="404121"/>
                      <a:pt x="1426047" y="19067"/>
                    </a:cubicBezTo>
                    <a:lnTo>
                      <a:pt x="904715" y="5165"/>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977" name="Google Shape;1158;p50">
              <a:extLst>
                <a:ext uri="{FF2B5EF4-FFF2-40B4-BE49-F238E27FC236}">
                  <a16:creationId xmlns:a16="http://schemas.microsoft.com/office/drawing/2014/main" id="{B03741A9-D916-DDC1-E591-319112EB7E5B}"/>
                </a:ext>
              </a:extLst>
            </p:cNvPr>
            <p:cNvSpPr/>
            <p:nvPr/>
          </p:nvSpPr>
          <p:spPr>
            <a:xfrm>
              <a:off x="4783305" y="636091"/>
              <a:ext cx="365344" cy="330991"/>
            </a:xfrm>
            <a:custGeom>
              <a:avLst/>
              <a:gdLst/>
              <a:ahLst/>
              <a:cxnLst/>
              <a:rect l="l" t="t" r="r" b="b"/>
              <a:pathLst>
                <a:path w="577619" h="523306" extrusionOk="0">
                  <a:moveTo>
                    <a:pt x="56213" y="504164"/>
                  </a:moveTo>
                  <a:cubicBezTo>
                    <a:pt x="56213" y="505911"/>
                    <a:pt x="56136" y="507582"/>
                    <a:pt x="56060" y="509329"/>
                  </a:cubicBezTo>
                  <a:lnTo>
                    <a:pt x="577392" y="523306"/>
                  </a:lnTo>
                  <a:cubicBezTo>
                    <a:pt x="577544" y="516926"/>
                    <a:pt x="577620" y="510621"/>
                    <a:pt x="577620" y="504240"/>
                  </a:cubicBezTo>
                  <a:cubicBezTo>
                    <a:pt x="577620" y="307345"/>
                    <a:pt x="497783" y="129060"/>
                    <a:pt x="368722" y="0"/>
                  </a:cubicBezTo>
                  <a:lnTo>
                    <a:pt x="0" y="368722"/>
                  </a:lnTo>
                  <a:cubicBezTo>
                    <a:pt x="34791" y="403286"/>
                    <a:pt x="56213" y="451218"/>
                    <a:pt x="56213" y="504164"/>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78" name="Google Shape;1159;p50">
              <a:extLst>
                <a:ext uri="{FF2B5EF4-FFF2-40B4-BE49-F238E27FC236}">
                  <a16:creationId xmlns:a16="http://schemas.microsoft.com/office/drawing/2014/main" id="{0ED3DE50-15DA-920D-577C-ABFDF0353CAD}"/>
                </a:ext>
              </a:extLst>
            </p:cNvPr>
            <p:cNvSpPr/>
            <p:nvPr/>
          </p:nvSpPr>
          <p:spPr>
            <a:xfrm>
              <a:off x="4810784" y="788761"/>
              <a:ext cx="309659" cy="122566"/>
            </a:xfrm>
            <a:custGeom>
              <a:avLst/>
              <a:gdLst/>
              <a:ahLst/>
              <a:cxnLst/>
              <a:rect l="l" t="t" r="r" b="b"/>
              <a:pathLst>
                <a:path w="489579" h="193780" extrusionOk="0">
                  <a:moveTo>
                    <a:pt x="0" y="193781"/>
                  </a:moveTo>
                  <a:lnTo>
                    <a:pt x="48957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979" name="Google Shape;1160;p50">
              <a:extLst>
                <a:ext uri="{FF2B5EF4-FFF2-40B4-BE49-F238E27FC236}">
                  <a16:creationId xmlns:a16="http://schemas.microsoft.com/office/drawing/2014/main" id="{914DFBF4-E81A-E7DC-54BC-CEC5BAF94635}"/>
                </a:ext>
              </a:extLst>
            </p:cNvPr>
            <p:cNvGrpSpPr/>
            <p:nvPr/>
          </p:nvGrpSpPr>
          <p:grpSpPr>
            <a:xfrm>
              <a:off x="4246593" y="503852"/>
              <a:ext cx="901928" cy="901976"/>
              <a:chOff x="5998919" y="3270845"/>
              <a:chExt cx="1426198" cy="1426274"/>
            </a:xfrm>
          </p:grpSpPr>
          <p:sp>
            <p:nvSpPr>
              <p:cNvPr id="980" name="Google Shape;1161;p50">
                <a:extLst>
                  <a:ext uri="{FF2B5EF4-FFF2-40B4-BE49-F238E27FC236}">
                    <a16:creationId xmlns:a16="http://schemas.microsoft.com/office/drawing/2014/main" id="{8DFC1867-471A-E92C-65C3-D0AEFEFE6938}"/>
                  </a:ext>
                </a:extLst>
              </p:cNvPr>
              <p:cNvSpPr/>
              <p:nvPr/>
            </p:nvSpPr>
            <p:spPr>
              <a:xfrm>
                <a:off x="6712056" y="3270845"/>
                <a:ext cx="504239" cy="577619"/>
              </a:xfrm>
              <a:custGeom>
                <a:avLst/>
                <a:gdLst/>
                <a:ahLst/>
                <a:cxnLst/>
                <a:rect l="l" t="t" r="r" b="b"/>
                <a:pathLst>
                  <a:path w="504239" h="577619" extrusionOk="0">
                    <a:moveTo>
                      <a:pt x="135518" y="577620"/>
                    </a:moveTo>
                    <a:lnTo>
                      <a:pt x="504240" y="208897"/>
                    </a:lnTo>
                    <a:cubicBezTo>
                      <a:pt x="375179" y="79837"/>
                      <a:pt x="196895" y="0"/>
                      <a:pt x="0" y="0"/>
                    </a:cubicBezTo>
                    <a:lnTo>
                      <a:pt x="0" y="521408"/>
                    </a:lnTo>
                    <a:cubicBezTo>
                      <a:pt x="52946" y="521483"/>
                      <a:pt x="100879" y="542905"/>
                      <a:pt x="135518" y="577620"/>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81" name="Google Shape;1162;p50">
                <a:extLst>
                  <a:ext uri="{FF2B5EF4-FFF2-40B4-BE49-F238E27FC236}">
                    <a16:creationId xmlns:a16="http://schemas.microsoft.com/office/drawing/2014/main" id="{D2A3F5EB-8D0C-DE92-0C4B-B5506F029D93}"/>
                  </a:ext>
                </a:extLst>
              </p:cNvPr>
              <p:cNvSpPr/>
              <p:nvPr/>
            </p:nvSpPr>
            <p:spPr>
              <a:xfrm>
                <a:off x="6847498" y="3479895"/>
                <a:ext cx="577619" cy="523306"/>
              </a:xfrm>
              <a:custGeom>
                <a:avLst/>
                <a:gdLst/>
                <a:ahLst/>
                <a:cxnLst/>
                <a:rect l="l" t="t" r="r" b="b"/>
                <a:pathLst>
                  <a:path w="577619" h="523306" extrusionOk="0">
                    <a:moveTo>
                      <a:pt x="56213" y="504164"/>
                    </a:moveTo>
                    <a:cubicBezTo>
                      <a:pt x="56213" y="505911"/>
                      <a:pt x="56136" y="507582"/>
                      <a:pt x="56060" y="509329"/>
                    </a:cubicBezTo>
                    <a:lnTo>
                      <a:pt x="577392" y="523306"/>
                    </a:lnTo>
                    <a:cubicBezTo>
                      <a:pt x="577544" y="516926"/>
                      <a:pt x="577620" y="510621"/>
                      <a:pt x="577620" y="504240"/>
                    </a:cubicBezTo>
                    <a:cubicBezTo>
                      <a:pt x="577620" y="307345"/>
                      <a:pt x="497783" y="129060"/>
                      <a:pt x="368722" y="0"/>
                    </a:cubicBezTo>
                    <a:lnTo>
                      <a:pt x="0" y="368722"/>
                    </a:lnTo>
                    <a:cubicBezTo>
                      <a:pt x="34791" y="403286"/>
                      <a:pt x="56213" y="451218"/>
                      <a:pt x="56213" y="504164"/>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982" name="Google Shape;1163;p50">
                <a:extLst>
                  <a:ext uri="{FF2B5EF4-FFF2-40B4-BE49-F238E27FC236}">
                    <a16:creationId xmlns:a16="http://schemas.microsoft.com/office/drawing/2014/main" id="{ECF602BE-D7E6-30F0-DD58-3FCF88AC68E9}"/>
                  </a:ext>
                </a:extLst>
              </p:cNvPr>
              <p:cNvSpPr/>
              <p:nvPr/>
            </p:nvSpPr>
            <p:spPr>
              <a:xfrm>
                <a:off x="5998919" y="3270845"/>
                <a:ext cx="1426046" cy="1426274"/>
              </a:xfrm>
              <a:custGeom>
                <a:avLst/>
                <a:gdLst/>
                <a:ahLst/>
                <a:cxnLst/>
                <a:rect l="l" t="t" r="r" b="b"/>
                <a:pathLst>
                  <a:path w="1426046" h="1426274" extrusionOk="0">
                    <a:moveTo>
                      <a:pt x="904715" y="718303"/>
                    </a:moveTo>
                    <a:cubicBezTo>
                      <a:pt x="901981" y="821840"/>
                      <a:pt x="817282" y="904867"/>
                      <a:pt x="713137" y="904867"/>
                    </a:cubicBezTo>
                    <a:cubicBezTo>
                      <a:pt x="607245" y="904867"/>
                      <a:pt x="521408" y="819029"/>
                      <a:pt x="521408" y="713137"/>
                    </a:cubicBezTo>
                    <a:cubicBezTo>
                      <a:pt x="521408" y="607245"/>
                      <a:pt x="607245" y="521408"/>
                      <a:pt x="713137" y="521408"/>
                    </a:cubicBezTo>
                    <a:lnTo>
                      <a:pt x="713137" y="0"/>
                    </a:lnTo>
                    <a:cubicBezTo>
                      <a:pt x="319271" y="0"/>
                      <a:pt x="0" y="319271"/>
                      <a:pt x="0" y="713137"/>
                    </a:cubicBezTo>
                    <a:cubicBezTo>
                      <a:pt x="0" y="1107003"/>
                      <a:pt x="319271" y="1426274"/>
                      <a:pt x="713137" y="1426274"/>
                    </a:cubicBezTo>
                    <a:cubicBezTo>
                      <a:pt x="1100623" y="1426274"/>
                      <a:pt x="1415867" y="1117258"/>
                      <a:pt x="1426047" y="732204"/>
                    </a:cubicBezTo>
                    <a:lnTo>
                      <a:pt x="904715" y="718303"/>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2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32F9A7F-576A-9073-2503-00C9A5D4474C}"/>
              </a:ext>
            </a:extLst>
          </p:cNvPr>
          <p:cNvGraphicFramePr>
            <a:graphicFrameLocks noChangeAspect="1"/>
          </p:cNvGraphicFramePr>
          <p:nvPr>
            <p:custDataLst>
              <p:tags r:id="rId1"/>
            </p:custDataLst>
            <p:extLst>
              <p:ext uri="{D42A27DB-BD31-4B8C-83A1-F6EECF244321}">
                <p14:modId xmlns:p14="http://schemas.microsoft.com/office/powerpoint/2010/main" val="2798824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5" name="Google Shape;525;p33"/>
          <p:cNvSpPr txBox="1">
            <a:spLocks noGrp="1"/>
          </p:cNvSpPr>
          <p:nvPr>
            <p:ph type="title"/>
          </p:nvPr>
        </p:nvSpPr>
        <p:spPr>
          <a:xfrm>
            <a:off x="729527" y="354109"/>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b="1" dirty="0">
                <a:latin typeface="Times New Roman" panose="02020603050405020304" pitchFamily="18" charset="0"/>
                <a:cs typeface="Times New Roman" panose="02020603050405020304" pitchFamily="18" charset="0"/>
              </a:rPr>
              <a:t>Agenda</a:t>
            </a:r>
            <a:endParaRPr b="1" dirty="0">
              <a:latin typeface="Times New Roman" panose="02020603050405020304" pitchFamily="18" charset="0"/>
              <a:cs typeface="Times New Roman" panose="02020603050405020304" pitchFamily="18" charset="0"/>
            </a:endParaRPr>
          </a:p>
        </p:txBody>
      </p:sp>
      <p:sp>
        <p:nvSpPr>
          <p:cNvPr id="529" name="Google Shape;529;p33"/>
          <p:cNvSpPr txBox="1">
            <a:spLocks noGrp="1"/>
          </p:cNvSpPr>
          <p:nvPr>
            <p:ph type="title" idx="2"/>
          </p:nvPr>
        </p:nvSpPr>
        <p:spPr>
          <a:xfrm>
            <a:off x="796200" y="1270850"/>
            <a:ext cx="73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000" b="1" dirty="0">
                <a:latin typeface="Times New Roman" panose="02020603050405020304" pitchFamily="18" charset="0"/>
                <a:cs typeface="Times New Roman" panose="02020603050405020304" pitchFamily="18" charset="0"/>
              </a:rPr>
              <a:t>01</a:t>
            </a:r>
            <a:r>
              <a:rPr lang="en" dirty="0">
                <a:latin typeface="Times New Roman" panose="02020603050405020304" pitchFamily="18" charset="0"/>
                <a:cs typeface="Times New Roman" panose="02020603050405020304" pitchFamily="18" charset="0"/>
              </a:rPr>
              <a:t>.</a:t>
            </a:r>
            <a:endParaRPr dirty="0">
              <a:latin typeface="Times New Roman" panose="02020603050405020304" pitchFamily="18" charset="0"/>
              <a:cs typeface="Times New Roman" panose="02020603050405020304" pitchFamily="18" charset="0"/>
            </a:endParaRPr>
          </a:p>
        </p:txBody>
      </p:sp>
      <p:sp>
        <p:nvSpPr>
          <p:cNvPr id="530" name="Google Shape;530;p33"/>
          <p:cNvSpPr txBox="1">
            <a:spLocks noGrp="1"/>
          </p:cNvSpPr>
          <p:nvPr>
            <p:ph type="title" idx="8"/>
          </p:nvPr>
        </p:nvSpPr>
        <p:spPr>
          <a:xfrm>
            <a:off x="796200" y="3000850"/>
            <a:ext cx="73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000" b="1" dirty="0">
                <a:latin typeface="Times New Roman" panose="02020603050405020304" pitchFamily="18" charset="0"/>
                <a:cs typeface="Times New Roman" panose="02020603050405020304" pitchFamily="18" charset="0"/>
              </a:rPr>
              <a:t>03</a:t>
            </a:r>
            <a:r>
              <a:rPr lang="en" dirty="0">
                <a:latin typeface="Times New Roman" panose="02020603050405020304" pitchFamily="18" charset="0"/>
                <a:cs typeface="Times New Roman" panose="02020603050405020304" pitchFamily="18" charset="0"/>
              </a:rPr>
              <a:t>.</a:t>
            </a:r>
            <a:endParaRPr dirty="0">
              <a:latin typeface="Times New Roman" panose="02020603050405020304" pitchFamily="18" charset="0"/>
              <a:cs typeface="Times New Roman" panose="02020603050405020304" pitchFamily="18" charset="0"/>
            </a:endParaRPr>
          </a:p>
        </p:txBody>
      </p:sp>
      <p:sp>
        <p:nvSpPr>
          <p:cNvPr id="531" name="Google Shape;531;p33"/>
          <p:cNvSpPr txBox="1">
            <a:spLocks noGrp="1"/>
          </p:cNvSpPr>
          <p:nvPr>
            <p:ph type="title" idx="14"/>
          </p:nvPr>
        </p:nvSpPr>
        <p:spPr>
          <a:xfrm>
            <a:off x="796200" y="3865850"/>
            <a:ext cx="73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000" b="1" dirty="0">
                <a:latin typeface="Times New Roman" panose="02020603050405020304" pitchFamily="18" charset="0"/>
                <a:cs typeface="Times New Roman" panose="02020603050405020304" pitchFamily="18" charset="0"/>
              </a:rPr>
              <a:t>04</a:t>
            </a:r>
            <a:r>
              <a:rPr lang="en" dirty="0">
                <a:latin typeface="Times New Roman" panose="02020603050405020304" pitchFamily="18" charset="0"/>
                <a:cs typeface="Times New Roman" panose="02020603050405020304" pitchFamily="18" charset="0"/>
              </a:rPr>
              <a:t>.</a:t>
            </a:r>
            <a:endParaRPr dirty="0">
              <a:latin typeface="Times New Roman" panose="02020603050405020304" pitchFamily="18" charset="0"/>
              <a:cs typeface="Times New Roman" panose="02020603050405020304" pitchFamily="18" charset="0"/>
            </a:endParaRPr>
          </a:p>
        </p:txBody>
      </p:sp>
      <p:sp>
        <p:nvSpPr>
          <p:cNvPr id="532" name="Google Shape;532;p33"/>
          <p:cNvSpPr txBox="1">
            <a:spLocks noGrp="1"/>
          </p:cNvSpPr>
          <p:nvPr>
            <p:ph type="subTitle" idx="3"/>
          </p:nvPr>
        </p:nvSpPr>
        <p:spPr>
          <a:xfrm>
            <a:off x="1647700" y="1194650"/>
            <a:ext cx="6222000" cy="447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b="1" dirty="0">
                <a:latin typeface="Times New Roman" panose="02020603050405020304" pitchFamily="18" charset="0"/>
                <a:cs typeface="Times New Roman" panose="02020603050405020304" pitchFamily="18" charset="0"/>
              </a:rPr>
              <a:t>Project Overview</a:t>
            </a:r>
            <a:endParaRPr b="1" dirty="0">
              <a:latin typeface="Times New Roman" panose="02020603050405020304" pitchFamily="18" charset="0"/>
              <a:cs typeface="Times New Roman" panose="02020603050405020304" pitchFamily="18" charset="0"/>
            </a:endParaRPr>
          </a:p>
        </p:txBody>
      </p:sp>
      <p:sp>
        <p:nvSpPr>
          <p:cNvPr id="534" name="Google Shape;534;p33"/>
          <p:cNvSpPr txBox="1">
            <a:spLocks noGrp="1"/>
          </p:cNvSpPr>
          <p:nvPr>
            <p:ph type="subTitle" idx="6"/>
          </p:nvPr>
        </p:nvSpPr>
        <p:spPr>
          <a:xfrm>
            <a:off x="1647700" y="2059650"/>
            <a:ext cx="6222000" cy="447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b="1" dirty="0">
                <a:latin typeface="Times New Roman" panose="02020603050405020304" pitchFamily="18" charset="0"/>
                <a:cs typeface="Times New Roman" panose="02020603050405020304" pitchFamily="18" charset="0"/>
              </a:rPr>
              <a:t>Data</a:t>
            </a:r>
            <a:r>
              <a:rPr lang="en" dirty="0">
                <a:latin typeface="Times New Roman" panose="02020603050405020304" pitchFamily="18" charset="0"/>
                <a:cs typeface="Times New Roman" panose="02020603050405020304" pitchFamily="18" charset="0"/>
              </a:rPr>
              <a:t> </a:t>
            </a:r>
            <a:r>
              <a:rPr lang="en" b="1" dirty="0">
                <a:latin typeface="Times New Roman" panose="02020603050405020304" pitchFamily="18" charset="0"/>
                <a:cs typeface="Times New Roman" panose="02020603050405020304" pitchFamily="18" charset="0"/>
              </a:rPr>
              <a:t>Analysis</a:t>
            </a:r>
            <a:endParaRPr b="1" dirty="0">
              <a:latin typeface="Times New Roman" panose="02020603050405020304" pitchFamily="18" charset="0"/>
              <a:cs typeface="Times New Roman" panose="02020603050405020304" pitchFamily="18" charset="0"/>
            </a:endParaRPr>
          </a:p>
        </p:txBody>
      </p:sp>
      <p:sp>
        <p:nvSpPr>
          <p:cNvPr id="535" name="Google Shape;535;p33"/>
          <p:cNvSpPr txBox="1">
            <a:spLocks noGrp="1"/>
          </p:cNvSpPr>
          <p:nvPr>
            <p:ph type="title" idx="5"/>
          </p:nvPr>
        </p:nvSpPr>
        <p:spPr>
          <a:xfrm>
            <a:off x="796200" y="2135850"/>
            <a:ext cx="73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2000" b="1" dirty="0">
                <a:latin typeface="Times New Roman" panose="02020603050405020304" pitchFamily="18" charset="0"/>
                <a:cs typeface="Times New Roman" panose="02020603050405020304" pitchFamily="18" charset="0"/>
              </a:rPr>
              <a:t>02</a:t>
            </a:r>
            <a:r>
              <a:rPr lang="en" dirty="0">
                <a:latin typeface="Times New Roman" panose="02020603050405020304" pitchFamily="18" charset="0"/>
                <a:cs typeface="Times New Roman" panose="02020603050405020304" pitchFamily="18" charset="0"/>
              </a:rPr>
              <a:t>.</a:t>
            </a:r>
            <a:endParaRPr dirty="0">
              <a:latin typeface="Times New Roman" panose="02020603050405020304" pitchFamily="18" charset="0"/>
              <a:cs typeface="Times New Roman" panose="02020603050405020304" pitchFamily="18" charset="0"/>
            </a:endParaRPr>
          </a:p>
        </p:txBody>
      </p:sp>
      <p:sp>
        <p:nvSpPr>
          <p:cNvPr id="536" name="Google Shape;536;p33"/>
          <p:cNvSpPr txBox="1">
            <a:spLocks noGrp="1"/>
          </p:cNvSpPr>
          <p:nvPr>
            <p:ph type="subTitle" idx="9"/>
          </p:nvPr>
        </p:nvSpPr>
        <p:spPr>
          <a:xfrm>
            <a:off x="1647700" y="2924650"/>
            <a:ext cx="6222000" cy="447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b="1" dirty="0">
                <a:latin typeface="Times New Roman" panose="02020603050405020304" pitchFamily="18" charset="0"/>
                <a:cs typeface="Times New Roman" panose="02020603050405020304" pitchFamily="18" charset="0"/>
              </a:rPr>
              <a:t>Data</a:t>
            </a:r>
            <a:r>
              <a:rPr lang="en" dirty="0">
                <a:latin typeface="Times New Roman" panose="02020603050405020304" pitchFamily="18" charset="0"/>
                <a:cs typeface="Times New Roman" panose="02020603050405020304" pitchFamily="18" charset="0"/>
              </a:rPr>
              <a:t> </a:t>
            </a:r>
            <a:r>
              <a:rPr lang="en" b="1" dirty="0">
                <a:latin typeface="Times New Roman" panose="02020603050405020304" pitchFamily="18" charset="0"/>
                <a:cs typeface="Times New Roman" panose="02020603050405020304" pitchFamily="18" charset="0"/>
              </a:rPr>
              <a:t>Visualization</a:t>
            </a:r>
            <a:endParaRPr b="1" dirty="0">
              <a:latin typeface="Times New Roman" panose="02020603050405020304" pitchFamily="18" charset="0"/>
              <a:cs typeface="Times New Roman" panose="02020603050405020304" pitchFamily="18" charset="0"/>
            </a:endParaRPr>
          </a:p>
        </p:txBody>
      </p:sp>
      <p:sp>
        <p:nvSpPr>
          <p:cNvPr id="537" name="Google Shape;537;p33"/>
          <p:cNvSpPr txBox="1">
            <a:spLocks noGrp="1"/>
          </p:cNvSpPr>
          <p:nvPr>
            <p:ph type="subTitle" idx="15"/>
          </p:nvPr>
        </p:nvSpPr>
        <p:spPr>
          <a:xfrm>
            <a:off x="1647700" y="3789650"/>
            <a:ext cx="6222000" cy="447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b="1" dirty="0">
                <a:latin typeface="Times New Roman" panose="02020603050405020304" pitchFamily="18" charset="0"/>
                <a:cs typeface="Times New Roman" panose="02020603050405020304" pitchFamily="18" charset="0"/>
              </a:rPr>
              <a:t>Conclusion</a:t>
            </a:r>
            <a:endParaRPr b="1" dirty="0">
              <a:latin typeface="Times New Roman" panose="02020603050405020304" pitchFamily="18" charset="0"/>
              <a:cs typeface="Times New Roman" panose="02020603050405020304" pitchFamily="18" charset="0"/>
            </a:endParaRPr>
          </a:p>
        </p:txBody>
      </p:sp>
      <p:grpSp>
        <p:nvGrpSpPr>
          <p:cNvPr id="538" name="Google Shape;538;p33"/>
          <p:cNvGrpSpPr/>
          <p:nvPr/>
        </p:nvGrpSpPr>
        <p:grpSpPr>
          <a:xfrm>
            <a:off x="7496300" y="540532"/>
            <a:ext cx="1269123" cy="979170"/>
            <a:chOff x="713232" y="1645097"/>
            <a:chExt cx="1269123" cy="979170"/>
          </a:xfrm>
        </p:grpSpPr>
        <p:sp>
          <p:nvSpPr>
            <p:cNvPr id="539" name="Google Shape;539;p33"/>
            <p:cNvSpPr/>
            <p:nvPr/>
          </p:nvSpPr>
          <p:spPr>
            <a:xfrm>
              <a:off x="713232" y="1645097"/>
              <a:ext cx="1269098" cy="979170"/>
            </a:xfrm>
            <a:custGeom>
              <a:avLst/>
              <a:gdLst/>
              <a:ahLst/>
              <a:cxnLst/>
              <a:rect l="l" t="t" r="r" b="b"/>
              <a:pathLst>
                <a:path w="1762636" h="1359958" extrusionOk="0">
                  <a:moveTo>
                    <a:pt x="0" y="0"/>
                  </a:moveTo>
                  <a:lnTo>
                    <a:pt x="1762637" y="0"/>
                  </a:lnTo>
                  <a:lnTo>
                    <a:pt x="1762637" y="1359959"/>
                  </a:lnTo>
                  <a:lnTo>
                    <a:pt x="0" y="1359959"/>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0" name="Google Shape;540;p33"/>
            <p:cNvSpPr/>
            <p:nvPr/>
          </p:nvSpPr>
          <p:spPr>
            <a:xfrm>
              <a:off x="757776" y="1689040"/>
              <a:ext cx="1224578" cy="870877"/>
            </a:xfrm>
            <a:custGeom>
              <a:avLst/>
              <a:gdLst/>
              <a:ahLst/>
              <a:cxnLst/>
              <a:rect l="l" t="t" r="r" b="b"/>
              <a:pathLst>
                <a:path w="1700803" h="1209552" extrusionOk="0">
                  <a:moveTo>
                    <a:pt x="1700803" y="0"/>
                  </a:moveTo>
                  <a:lnTo>
                    <a:pt x="1700803" y="1209553"/>
                  </a:lnTo>
                  <a:lnTo>
                    <a:pt x="112349" y="1209553"/>
                  </a:lnTo>
                  <a:cubicBezTo>
                    <a:pt x="50287" y="1209553"/>
                    <a:pt x="0" y="1159266"/>
                    <a:pt x="0" y="1097280"/>
                  </a:cubicBezTo>
                  <a:lnTo>
                    <a:pt x="0" y="112349"/>
                  </a:lnTo>
                  <a:cubicBezTo>
                    <a:pt x="0" y="50363"/>
                    <a:pt x="50287" y="0"/>
                    <a:pt x="112349" y="0"/>
                  </a:cubicBezTo>
                  <a:lnTo>
                    <a:pt x="1700803" y="0"/>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1" name="Google Shape;541;p33"/>
            <p:cNvSpPr/>
            <p:nvPr/>
          </p:nvSpPr>
          <p:spPr>
            <a:xfrm>
              <a:off x="895406" y="1822018"/>
              <a:ext cx="1015268" cy="621368"/>
            </a:xfrm>
            <a:custGeom>
              <a:avLst/>
              <a:gdLst/>
              <a:ahLst/>
              <a:cxnLst/>
              <a:rect l="l" t="t" r="r" b="b"/>
              <a:pathLst>
                <a:path w="1410094" h="863011" extrusionOk="0">
                  <a:moveTo>
                    <a:pt x="0" y="0"/>
                  </a:moveTo>
                  <a:lnTo>
                    <a:pt x="0" y="863011"/>
                  </a:lnTo>
                  <a:lnTo>
                    <a:pt x="1410094" y="863011"/>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2" name="Google Shape;542;p33"/>
            <p:cNvSpPr/>
            <p:nvPr/>
          </p:nvSpPr>
          <p:spPr>
            <a:xfrm>
              <a:off x="895406" y="1928400"/>
              <a:ext cx="1015268" cy="515044"/>
            </a:xfrm>
            <a:custGeom>
              <a:avLst/>
              <a:gdLst/>
              <a:ahLst/>
              <a:cxnLst/>
              <a:rect l="l" t="t" r="r" b="b"/>
              <a:pathLst>
                <a:path w="1410094" h="715339" extrusionOk="0">
                  <a:moveTo>
                    <a:pt x="0" y="715340"/>
                  </a:moveTo>
                  <a:lnTo>
                    <a:pt x="328690" y="452053"/>
                  </a:lnTo>
                  <a:lnTo>
                    <a:pt x="454712" y="559085"/>
                  </a:lnTo>
                  <a:lnTo>
                    <a:pt x="905550" y="83027"/>
                  </a:lnTo>
                  <a:lnTo>
                    <a:pt x="1077986" y="318207"/>
                  </a:lnTo>
                  <a:lnTo>
                    <a:pt x="1410094"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3" name="Google Shape;543;p33"/>
            <p:cNvSpPr/>
            <p:nvPr/>
          </p:nvSpPr>
          <p:spPr>
            <a:xfrm>
              <a:off x="1017604" y="2293844"/>
              <a:ext cx="55786" cy="55786"/>
            </a:xfrm>
            <a:custGeom>
              <a:avLst/>
              <a:gdLst/>
              <a:ahLst/>
              <a:cxnLst/>
              <a:rect l="l" t="t" r="r" b="b"/>
              <a:pathLst>
                <a:path w="77481" h="77481" extrusionOk="0">
                  <a:moveTo>
                    <a:pt x="77482" y="38741"/>
                  </a:moveTo>
                  <a:cubicBezTo>
                    <a:pt x="77482" y="60162"/>
                    <a:pt x="60163" y="77482"/>
                    <a:pt x="38741" y="77482"/>
                  </a:cubicBezTo>
                  <a:cubicBezTo>
                    <a:pt x="17320" y="77482"/>
                    <a:pt x="0" y="60162"/>
                    <a:pt x="0" y="38741"/>
                  </a:cubicBezTo>
                  <a:cubicBezTo>
                    <a:pt x="0" y="17319"/>
                    <a:pt x="17320" y="0"/>
                    <a:pt x="38741" y="0"/>
                  </a:cubicBezTo>
                  <a:cubicBezTo>
                    <a:pt x="60163" y="0"/>
                    <a:pt x="77482" y="17395"/>
                    <a:pt x="77482" y="3874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4" name="Google Shape;544;p33"/>
            <p:cNvSpPr/>
            <p:nvPr/>
          </p:nvSpPr>
          <p:spPr>
            <a:xfrm>
              <a:off x="1575619" y="2039379"/>
              <a:ext cx="55786" cy="55786"/>
            </a:xfrm>
            <a:custGeom>
              <a:avLst/>
              <a:gdLst/>
              <a:ahLst/>
              <a:cxnLst/>
              <a:rect l="l" t="t" r="r" b="b"/>
              <a:pathLst>
                <a:path w="77481" h="77481" extrusionOk="0">
                  <a:moveTo>
                    <a:pt x="77482" y="38741"/>
                  </a:moveTo>
                  <a:cubicBezTo>
                    <a:pt x="77482" y="60137"/>
                    <a:pt x="60137" y="77482"/>
                    <a:pt x="38741" y="77482"/>
                  </a:cubicBezTo>
                  <a:cubicBezTo>
                    <a:pt x="17345" y="77482"/>
                    <a:pt x="1" y="60137"/>
                    <a:pt x="1" y="38741"/>
                  </a:cubicBezTo>
                  <a:cubicBezTo>
                    <a:pt x="1" y="17345"/>
                    <a:pt x="17345" y="0"/>
                    <a:pt x="38741" y="0"/>
                  </a:cubicBezTo>
                  <a:cubicBezTo>
                    <a:pt x="60137" y="0"/>
                    <a:pt x="77482" y="17345"/>
                    <a:pt x="77482" y="3874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5" name="Google Shape;545;p33"/>
            <p:cNvSpPr/>
            <p:nvPr/>
          </p:nvSpPr>
          <p:spPr>
            <a:xfrm>
              <a:off x="1819686" y="1961125"/>
              <a:ext cx="55786" cy="55786"/>
            </a:xfrm>
            <a:custGeom>
              <a:avLst/>
              <a:gdLst/>
              <a:ahLst/>
              <a:cxnLst/>
              <a:rect l="l" t="t" r="r" b="b"/>
              <a:pathLst>
                <a:path w="77481" h="77481" extrusionOk="0">
                  <a:moveTo>
                    <a:pt x="77482" y="38741"/>
                  </a:moveTo>
                  <a:cubicBezTo>
                    <a:pt x="77482" y="60162"/>
                    <a:pt x="60163" y="77482"/>
                    <a:pt x="38741" y="77482"/>
                  </a:cubicBezTo>
                  <a:cubicBezTo>
                    <a:pt x="17320" y="77482"/>
                    <a:pt x="0" y="60162"/>
                    <a:pt x="0" y="38741"/>
                  </a:cubicBezTo>
                  <a:cubicBezTo>
                    <a:pt x="0" y="17319"/>
                    <a:pt x="17320" y="0"/>
                    <a:pt x="38741" y="0"/>
                  </a:cubicBezTo>
                  <a:cubicBezTo>
                    <a:pt x="60163" y="0"/>
                    <a:pt x="77482" y="17396"/>
                    <a:pt x="77482" y="3874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6" name="Google Shape;546;p33"/>
            <p:cNvSpPr/>
            <p:nvPr/>
          </p:nvSpPr>
          <p:spPr>
            <a:xfrm>
              <a:off x="1293848" y="2198242"/>
              <a:ext cx="55786" cy="55786"/>
            </a:xfrm>
            <a:custGeom>
              <a:avLst/>
              <a:gdLst/>
              <a:ahLst/>
              <a:cxnLst/>
              <a:rect l="l" t="t" r="r" b="b"/>
              <a:pathLst>
                <a:path w="77481" h="77481" extrusionOk="0">
                  <a:moveTo>
                    <a:pt x="77482" y="38741"/>
                  </a:moveTo>
                  <a:cubicBezTo>
                    <a:pt x="77482" y="60162"/>
                    <a:pt x="60162" y="77482"/>
                    <a:pt x="38741" y="77482"/>
                  </a:cubicBezTo>
                  <a:cubicBezTo>
                    <a:pt x="17319" y="77482"/>
                    <a:pt x="0" y="60162"/>
                    <a:pt x="0" y="38741"/>
                  </a:cubicBezTo>
                  <a:cubicBezTo>
                    <a:pt x="0" y="17319"/>
                    <a:pt x="17319" y="0"/>
                    <a:pt x="38741" y="0"/>
                  </a:cubicBezTo>
                  <a:cubicBezTo>
                    <a:pt x="60162" y="0"/>
                    <a:pt x="77482" y="17395"/>
                    <a:pt x="77482" y="38741"/>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47" name="Google Shape;547;p33"/>
            <p:cNvSpPr/>
            <p:nvPr/>
          </p:nvSpPr>
          <p:spPr>
            <a:xfrm>
              <a:off x="991282" y="1857861"/>
              <a:ext cx="278114" cy="54528"/>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nvGrpSpPr>
            <p:cNvPr id="548" name="Google Shape;548;p33"/>
            <p:cNvGrpSpPr/>
            <p:nvPr/>
          </p:nvGrpSpPr>
          <p:grpSpPr>
            <a:xfrm>
              <a:off x="991282" y="1966652"/>
              <a:ext cx="178234" cy="78199"/>
              <a:chOff x="3931369" y="3641467"/>
              <a:chExt cx="247410" cy="108550"/>
            </a:xfrm>
          </p:grpSpPr>
          <p:sp>
            <p:nvSpPr>
              <p:cNvPr id="549" name="Google Shape;549;p33"/>
              <p:cNvSpPr/>
              <p:nvPr/>
            </p:nvSpPr>
            <p:spPr>
              <a:xfrm>
                <a:off x="3931369" y="3641467"/>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50" name="Google Shape;550;p33"/>
              <p:cNvSpPr/>
              <p:nvPr/>
            </p:nvSpPr>
            <p:spPr>
              <a:xfrm>
                <a:off x="3931369" y="3691906"/>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sp>
            <p:nvSpPr>
              <p:cNvPr id="551" name="Google Shape;551;p33"/>
              <p:cNvSpPr/>
              <p:nvPr/>
            </p:nvSpPr>
            <p:spPr>
              <a:xfrm>
                <a:off x="3931369" y="3742421"/>
                <a:ext cx="247410" cy="7596"/>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Times New Roman" panose="02020603050405020304" pitchFamily="18" charset="0"/>
                  <a:ea typeface="Calibri"/>
                  <a:cs typeface="Times New Roman" panose="02020603050405020304" pitchFamily="18" charset="0"/>
                  <a:sym typeface="Calibri"/>
                </a:endParaRPr>
              </a:p>
            </p:txBody>
          </p: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7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8A12C2-3ABB-8889-8B1D-BDA9D9203A4D}"/>
              </a:ext>
            </a:extLst>
          </p:cNvPr>
          <p:cNvGraphicFramePr>
            <a:graphicFrameLocks noChangeAspect="1"/>
          </p:cNvGraphicFramePr>
          <p:nvPr>
            <p:custDataLst>
              <p:tags r:id="rId1"/>
            </p:custDataLst>
            <p:extLst>
              <p:ext uri="{D42A27DB-BD31-4B8C-83A1-F6EECF244321}">
                <p14:modId xmlns:p14="http://schemas.microsoft.com/office/powerpoint/2010/main" val="68904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4" name="Google Shape;574;p35"/>
          <p:cNvSpPr txBox="1">
            <a:spLocks noGrp="1"/>
          </p:cNvSpPr>
          <p:nvPr>
            <p:ph type="title"/>
          </p:nvPr>
        </p:nvSpPr>
        <p:spPr>
          <a:xfrm>
            <a:off x="2999500" y="1920600"/>
            <a:ext cx="4150500" cy="13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roject Overview</a:t>
            </a:r>
            <a:br>
              <a:rPr lang="en" dirty="0"/>
            </a:br>
            <a:endParaRPr dirty="0"/>
          </a:p>
        </p:txBody>
      </p:sp>
      <p:sp>
        <p:nvSpPr>
          <p:cNvPr id="575" name="Google Shape;575;p35"/>
          <p:cNvSpPr txBox="1">
            <a:spLocks noGrp="1"/>
          </p:cNvSpPr>
          <p:nvPr>
            <p:ph type="title" idx="2"/>
          </p:nvPr>
        </p:nvSpPr>
        <p:spPr>
          <a:xfrm>
            <a:off x="1475300" y="1690000"/>
            <a:ext cx="1294500" cy="90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1.</a:t>
            </a:r>
            <a:endParaRPr dirty="0"/>
          </a:p>
        </p:txBody>
      </p:sp>
      <p:grpSp>
        <p:nvGrpSpPr>
          <p:cNvPr id="576" name="Google Shape;576;p35"/>
          <p:cNvGrpSpPr/>
          <p:nvPr/>
        </p:nvGrpSpPr>
        <p:grpSpPr>
          <a:xfrm>
            <a:off x="7783346" y="490666"/>
            <a:ext cx="901968" cy="901968"/>
            <a:chOff x="1350404" y="-3124999"/>
            <a:chExt cx="1570279" cy="1570279"/>
          </a:xfrm>
        </p:grpSpPr>
        <p:sp>
          <p:nvSpPr>
            <p:cNvPr id="577" name="Google Shape;577;p35"/>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8" name="Google Shape;578;p35"/>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9" name="Google Shape;579;p35"/>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0" name="Google Shape;580;p35"/>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581" name="Google Shape;581;p35"/>
          <p:cNvGrpSpPr/>
          <p:nvPr/>
        </p:nvGrpSpPr>
        <p:grpSpPr>
          <a:xfrm>
            <a:off x="713029" y="3447254"/>
            <a:ext cx="1266652" cy="1056012"/>
            <a:chOff x="5378191" y="1701500"/>
            <a:chExt cx="611171" cy="509535"/>
          </a:xfrm>
        </p:grpSpPr>
        <p:sp>
          <p:nvSpPr>
            <p:cNvPr id="582" name="Google Shape;582;p35"/>
            <p:cNvSpPr/>
            <p:nvPr/>
          </p:nvSpPr>
          <p:spPr>
            <a:xfrm>
              <a:off x="5378191" y="1701500"/>
              <a:ext cx="611171" cy="509535"/>
            </a:xfrm>
            <a:custGeom>
              <a:avLst/>
              <a:gdLst/>
              <a:ahLst/>
              <a:cxnLst/>
              <a:rect l="l" t="t" r="r" b="b"/>
              <a:pathLst>
                <a:path w="1266676" h="1056032" extrusionOk="0">
                  <a:moveTo>
                    <a:pt x="1101761" y="1056032"/>
                  </a:moveTo>
                  <a:lnTo>
                    <a:pt x="164915" y="1056032"/>
                  </a:lnTo>
                  <a:cubicBezTo>
                    <a:pt x="73835" y="1056032"/>
                    <a:pt x="0" y="982197"/>
                    <a:pt x="0" y="891118"/>
                  </a:cubicBezTo>
                  <a:lnTo>
                    <a:pt x="0" y="164915"/>
                  </a:lnTo>
                  <a:cubicBezTo>
                    <a:pt x="0" y="73836"/>
                    <a:pt x="73835" y="0"/>
                    <a:pt x="164915" y="0"/>
                  </a:cubicBezTo>
                  <a:lnTo>
                    <a:pt x="1101761" y="0"/>
                  </a:lnTo>
                  <a:cubicBezTo>
                    <a:pt x="1192841" y="0"/>
                    <a:pt x="1266677" y="73836"/>
                    <a:pt x="1266677" y="164915"/>
                  </a:cubicBezTo>
                  <a:lnTo>
                    <a:pt x="1266677" y="891118"/>
                  </a:lnTo>
                  <a:cubicBezTo>
                    <a:pt x="1266677" y="982197"/>
                    <a:pt x="1192841" y="1056032"/>
                    <a:pt x="1101761" y="105603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3" name="Google Shape;583;p35"/>
            <p:cNvSpPr/>
            <p:nvPr/>
          </p:nvSpPr>
          <p:spPr>
            <a:xfrm>
              <a:off x="5497928" y="1776815"/>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4" name="Google Shape;584;p35"/>
            <p:cNvSpPr/>
            <p:nvPr/>
          </p:nvSpPr>
          <p:spPr>
            <a:xfrm>
              <a:off x="5608451" y="1776815"/>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5" name="Google Shape;585;p35"/>
            <p:cNvSpPr/>
            <p:nvPr/>
          </p:nvSpPr>
          <p:spPr>
            <a:xfrm>
              <a:off x="571901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6" name="Google Shape;586;p35"/>
            <p:cNvSpPr/>
            <p:nvPr/>
          </p:nvSpPr>
          <p:spPr>
            <a:xfrm>
              <a:off x="582957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7" name="Google Shape;587;p35"/>
            <p:cNvSpPr/>
            <p:nvPr/>
          </p:nvSpPr>
          <p:spPr>
            <a:xfrm>
              <a:off x="5497928" y="1882549"/>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8" name="Google Shape;588;p35"/>
            <p:cNvSpPr/>
            <p:nvPr/>
          </p:nvSpPr>
          <p:spPr>
            <a:xfrm>
              <a:off x="5608451" y="1882549"/>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9" name="Google Shape;589;p35"/>
            <p:cNvSpPr/>
            <p:nvPr/>
          </p:nvSpPr>
          <p:spPr>
            <a:xfrm>
              <a:off x="571901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0" name="Google Shape;590;p35"/>
            <p:cNvSpPr/>
            <p:nvPr/>
          </p:nvSpPr>
          <p:spPr>
            <a:xfrm>
              <a:off x="582957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1" name="Google Shape;591;p35"/>
            <p:cNvSpPr/>
            <p:nvPr/>
          </p:nvSpPr>
          <p:spPr>
            <a:xfrm>
              <a:off x="5497928" y="198832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2" name="Google Shape;592;p35"/>
            <p:cNvSpPr/>
            <p:nvPr/>
          </p:nvSpPr>
          <p:spPr>
            <a:xfrm>
              <a:off x="5608451" y="198832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3" name="Google Shape;593;p35"/>
            <p:cNvSpPr/>
            <p:nvPr/>
          </p:nvSpPr>
          <p:spPr>
            <a:xfrm>
              <a:off x="571901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4" name="Google Shape;594;p35"/>
            <p:cNvSpPr/>
            <p:nvPr/>
          </p:nvSpPr>
          <p:spPr>
            <a:xfrm>
              <a:off x="582957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5" name="Google Shape;595;p35"/>
            <p:cNvSpPr/>
            <p:nvPr/>
          </p:nvSpPr>
          <p:spPr>
            <a:xfrm>
              <a:off x="5497928" y="209409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6" name="Google Shape;596;p35"/>
            <p:cNvSpPr/>
            <p:nvPr/>
          </p:nvSpPr>
          <p:spPr>
            <a:xfrm>
              <a:off x="5608451" y="209409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7" name="Google Shape;597;p35"/>
            <p:cNvSpPr/>
            <p:nvPr/>
          </p:nvSpPr>
          <p:spPr>
            <a:xfrm>
              <a:off x="571901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8" name="Google Shape;598;p35"/>
            <p:cNvSpPr/>
            <p:nvPr/>
          </p:nvSpPr>
          <p:spPr>
            <a:xfrm>
              <a:off x="582957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D726512-1160-A8D5-4BCE-F3F955529F24}"/>
              </a:ext>
            </a:extLst>
          </p:cNvPr>
          <p:cNvGraphicFramePr>
            <a:graphicFrameLocks noChangeAspect="1"/>
          </p:cNvGraphicFramePr>
          <p:nvPr>
            <p:custDataLst>
              <p:tags r:id="rId1"/>
            </p:custDataLst>
            <p:extLst>
              <p:ext uri="{D42A27DB-BD31-4B8C-83A1-F6EECF244321}">
                <p14:modId xmlns:p14="http://schemas.microsoft.com/office/powerpoint/2010/main" val="2460680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8" name="Google Shape;658;p38"/>
          <p:cNvSpPr txBox="1">
            <a:spLocks noGrp="1"/>
          </p:cNvSpPr>
          <p:nvPr>
            <p:ph type="title"/>
          </p:nvPr>
        </p:nvSpPr>
        <p:spPr>
          <a:xfrm>
            <a:off x="428338" y="104487"/>
            <a:ext cx="7704000" cy="572700"/>
          </a:xfrm>
          <a:prstGeom prst="rect">
            <a:avLst/>
          </a:prstGeom>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dirty="0"/>
              <a:t>Project Overview</a:t>
            </a:r>
            <a:endParaRPr dirty="0"/>
          </a:p>
        </p:txBody>
      </p:sp>
      <p:sp>
        <p:nvSpPr>
          <p:cNvPr id="659" name="Google Shape;659;p38"/>
          <p:cNvSpPr txBox="1">
            <a:spLocks noGrp="1"/>
          </p:cNvSpPr>
          <p:nvPr>
            <p:ph type="subTitle" idx="1"/>
          </p:nvPr>
        </p:nvSpPr>
        <p:spPr>
          <a:xfrm>
            <a:off x="228869" y="661338"/>
            <a:ext cx="8662883" cy="753314"/>
          </a:xfrm>
          <a:prstGeom prst="rect">
            <a:avLst/>
          </a:prstGeom>
        </p:spPr>
        <p:txBody>
          <a:bodyPr spcFirstLastPara="1" wrap="square" lIns="91425" tIns="91425" rIns="91425" bIns="91425" anchor="t" anchorCtr="0">
            <a:noAutofit/>
          </a:bodyPr>
          <a:lstStyle/>
          <a:p>
            <a:pPr marL="0" marR="0" indent="0" algn="just">
              <a:lnSpc>
                <a:spcPct val="115000"/>
              </a:lnSpc>
              <a:spcBef>
                <a:spcPts val="0"/>
              </a:spcBef>
              <a:spcAft>
                <a:spcPts val="800"/>
              </a:spcAft>
              <a:buNone/>
            </a:pPr>
            <a:r>
              <a:rPr lang="en" sz="1100" b="1" dirty="0">
                <a:solidFill>
                  <a:schemeClr val="tx1">
                    <a:lumMod val="50000"/>
                  </a:schemeClr>
                </a:solidFill>
                <a:latin typeface="Times New Roman" panose="02020603050405020304" pitchFamily="18" charset="0"/>
                <a:cs typeface="Times New Roman" panose="02020603050405020304" pitchFamily="18" charset="0"/>
              </a:rPr>
              <a:t>Objective</a:t>
            </a:r>
            <a:endParaRPr lang="en-US" sz="1100" b="1" kern="100" dirty="0">
              <a:solidFill>
                <a:schemeClr val="tx1">
                  <a:lumMod val="50000"/>
                </a:schemeClr>
              </a:solidFill>
              <a:latin typeface="Times New Roman" panose="02020603050405020304" pitchFamily="18" charset="0"/>
              <a:ea typeface="Aptos" panose="020B0004020202020204" pitchFamily="34" charset="0"/>
              <a:cs typeface="Times New Roman" panose="02020603050405020304" pitchFamily="18" charset="0"/>
            </a:endParaRPr>
          </a:p>
          <a:p>
            <a:pPr marL="0" marR="0" indent="0" algn="just">
              <a:lnSpc>
                <a:spcPct val="115000"/>
              </a:lnSpc>
              <a:spcBef>
                <a:spcPts val="0"/>
              </a:spcBef>
              <a:spcAft>
                <a:spcPts val="800"/>
              </a:spcAft>
              <a:buNone/>
            </a:pPr>
            <a:r>
              <a:rPr lang="en-US" sz="1050" kern="100" dirty="0">
                <a:solidFill>
                  <a:schemeClr val="tx1">
                    <a:lumMod val="50000"/>
                  </a:schemeClr>
                </a:solidFill>
                <a:latin typeface="Times New Roman" panose="02020603050405020304" pitchFamily="18" charset="0"/>
                <a:ea typeface="Aptos" panose="020B0004020202020204" pitchFamily="34" charset="0"/>
                <a:cs typeface="Times New Roman" panose="02020603050405020304" pitchFamily="18" charset="0"/>
              </a:rPr>
              <a:t>E</a:t>
            </a:r>
            <a:r>
              <a:rPr lang="en-US" sz="1050" kern="100" dirty="0">
                <a:solidFill>
                  <a:schemeClr val="tx1">
                    <a:lumMod val="50000"/>
                  </a:schemeClr>
                </a:solidFill>
                <a:effectLst/>
                <a:latin typeface="Times New Roman" panose="02020603050405020304" pitchFamily="18" charset="0"/>
                <a:ea typeface="Aptos" panose="020B0004020202020204" pitchFamily="34" charset="0"/>
                <a:cs typeface="Times New Roman" panose="02020603050405020304" pitchFamily="18" charset="0"/>
              </a:rPr>
              <a:t>xplore, analyze, and visualize crime data from Boston to identify patterns, trends, and correlations that can inform law enforcement decision-making,</a:t>
            </a:r>
            <a:r>
              <a:rPr lang="en-US" sz="1050" kern="100" dirty="0">
                <a:solidFill>
                  <a:schemeClr val="tx1">
                    <a:lumMod val="50000"/>
                  </a:schemeClr>
                </a:solidFill>
                <a:latin typeface="Times New Roman" panose="02020603050405020304" pitchFamily="18" charset="0"/>
                <a:cs typeface="Times New Roman" panose="02020603050405020304" pitchFamily="18" charset="0"/>
              </a:rPr>
              <a:t> support effective crime prevention measures and improve community safety.</a:t>
            </a:r>
            <a:endParaRPr lang="en-US" sz="1050" kern="100" dirty="0">
              <a:solidFill>
                <a:schemeClr val="tx1">
                  <a:lumMod val="50000"/>
                </a:schemeClr>
              </a:solidFill>
              <a:effectLst/>
              <a:latin typeface="Times New Roman" panose="02020603050405020304" pitchFamily="18" charset="0"/>
              <a:ea typeface="Aptos" panose="020B0004020202020204" pitchFamily="34" charset="0"/>
              <a:cs typeface="Times New Roman" panose="02020603050405020304" pitchFamily="18" charset="0"/>
            </a:endParaRPr>
          </a:p>
        </p:txBody>
      </p:sp>
      <p:sp>
        <p:nvSpPr>
          <p:cNvPr id="661" name="Google Shape;661;p38"/>
          <p:cNvSpPr txBox="1">
            <a:spLocks noGrp="1"/>
          </p:cNvSpPr>
          <p:nvPr>
            <p:ph type="subTitle" idx="3"/>
          </p:nvPr>
        </p:nvSpPr>
        <p:spPr>
          <a:xfrm>
            <a:off x="3165048" y="1403479"/>
            <a:ext cx="5801768" cy="572700"/>
          </a:xfrm>
          <a:prstGeom prst="rect">
            <a:avLst/>
          </a:prstGeom>
        </p:spPr>
        <p:txBody>
          <a:bodyPr spcFirstLastPara="1" wrap="square" lIns="91425" tIns="91425" rIns="91425" bIns="91425" anchor="t" anchorCtr="0">
            <a:noAutofit/>
          </a:bodyPr>
          <a:lstStyle/>
          <a:p>
            <a:pPr marL="0" lvl="0" indent="0" algn="just" rtl="0">
              <a:spcBef>
                <a:spcPts val="0"/>
              </a:spcBef>
              <a:spcAft>
                <a:spcPts val="0"/>
              </a:spcAft>
              <a:buClr>
                <a:schemeClr val="hlink"/>
              </a:buClr>
              <a:buSzPts val="1100"/>
              <a:buFont typeface="Arial"/>
              <a:buNone/>
            </a:pPr>
            <a:r>
              <a:rPr lang="en" sz="1050" b="1" dirty="0">
                <a:solidFill>
                  <a:schemeClr val="tx1">
                    <a:lumMod val="50000"/>
                  </a:schemeClr>
                </a:solidFill>
                <a:latin typeface="Times New Roman" panose="02020603050405020304" pitchFamily="18" charset="0"/>
                <a:ea typeface="Inter"/>
                <a:cs typeface="Times New Roman" panose="02020603050405020304" pitchFamily="18" charset="0"/>
                <a:sym typeface="Inter"/>
              </a:rPr>
              <a:t>Tools</a:t>
            </a:r>
            <a:endParaRPr lang="en-US" sz="1050" kern="100" dirty="0">
              <a:solidFill>
                <a:schemeClr val="tx1">
                  <a:lumMod val="50000"/>
                </a:schemeClr>
              </a:solidFill>
              <a:latin typeface="Times New Roman" panose="02020603050405020304" pitchFamily="18" charset="0"/>
              <a:cs typeface="Times New Roman" panose="02020603050405020304" pitchFamily="18" charset="0"/>
            </a:endParaRPr>
          </a:p>
          <a:p>
            <a:pPr marL="0" lvl="0" indent="0" algn="just" rtl="0">
              <a:spcBef>
                <a:spcPts val="0"/>
              </a:spcBef>
              <a:spcAft>
                <a:spcPts val="0"/>
              </a:spcAft>
              <a:buClr>
                <a:schemeClr val="hlink"/>
              </a:buClr>
              <a:buSzPts val="1100"/>
              <a:buFont typeface="Arial"/>
              <a:buNone/>
            </a:pPr>
            <a:r>
              <a:rPr lang="en-US" sz="1050" kern="100" dirty="0">
                <a:solidFill>
                  <a:schemeClr val="tx1">
                    <a:lumMod val="50000"/>
                  </a:schemeClr>
                </a:solidFill>
                <a:latin typeface="Times New Roman" panose="02020603050405020304" pitchFamily="18" charset="0"/>
                <a:cs typeface="Times New Roman" panose="02020603050405020304" pitchFamily="18" charset="0"/>
              </a:rPr>
              <a:t>By leveraging data analytics tools such as Excel, Python, and Tableau, the project aims to develop comprehensive insights.</a:t>
            </a:r>
            <a:endParaRPr sz="1050" kern="100" dirty="0">
              <a:solidFill>
                <a:schemeClr val="tx1">
                  <a:lumMod val="50000"/>
                </a:schemeClr>
              </a:solidFill>
              <a:latin typeface="Times New Roman" panose="02020603050405020304" pitchFamily="18" charset="0"/>
              <a:cs typeface="Times New Roman" panose="02020603050405020304" pitchFamily="18" charset="0"/>
            </a:endParaRPr>
          </a:p>
        </p:txBody>
      </p:sp>
      <p:sp>
        <p:nvSpPr>
          <p:cNvPr id="663" name="Google Shape;663;p38"/>
          <p:cNvSpPr txBox="1">
            <a:spLocks noGrp="1"/>
          </p:cNvSpPr>
          <p:nvPr>
            <p:ph type="subTitle" idx="5"/>
          </p:nvPr>
        </p:nvSpPr>
        <p:spPr>
          <a:xfrm>
            <a:off x="2448906" y="3387535"/>
            <a:ext cx="7040399" cy="648215"/>
          </a:xfrm>
          <a:prstGeom prst="rect">
            <a:avLst/>
          </a:prstGeom>
        </p:spPr>
        <p:txBody>
          <a:bodyPr spcFirstLastPara="1" wrap="square" lIns="91425" tIns="91425" rIns="91425" bIns="91425" anchor="t" anchorCtr="0">
            <a:noAutofit/>
          </a:bodyPr>
          <a:lstStyle/>
          <a:p>
            <a:pPr marL="0" marR="0">
              <a:lnSpc>
                <a:spcPct val="115000"/>
              </a:lnSpc>
              <a:spcBef>
                <a:spcPts val="0"/>
              </a:spcBef>
              <a:spcAft>
                <a:spcPts val="800"/>
              </a:spcAft>
            </a:pPr>
            <a:r>
              <a:rPr lang="en-US" sz="1050" b="1" kern="100" dirty="0">
                <a:solidFill>
                  <a:schemeClr val="tx1">
                    <a:lumMod val="50000"/>
                  </a:schemeClr>
                </a:solidFill>
                <a:effectLst/>
                <a:latin typeface="Times New Roman" panose="02020603050405020304" pitchFamily="18" charset="0"/>
                <a:ea typeface="Aptos" panose="020B0004020202020204" pitchFamily="34" charset="0"/>
                <a:cs typeface="Times New Roman" panose="02020603050405020304" pitchFamily="18" charset="0"/>
              </a:rPr>
              <a:t>Expected Outcomes</a:t>
            </a:r>
            <a:endParaRPr lang="en-US" sz="1050" kern="100" dirty="0">
              <a:solidFill>
                <a:schemeClr val="tx1">
                  <a:lumMod val="50000"/>
                </a:schemeClr>
              </a:solidFill>
              <a:effectLst/>
              <a:latin typeface="Times New Roman" panose="02020603050405020304" pitchFamily="18" charset="0"/>
              <a:ea typeface="Aptos" panose="020B0004020202020204" pitchFamily="34" charset="0"/>
              <a:cs typeface="Times New Roman" panose="02020603050405020304" pitchFamily="18" charset="0"/>
            </a:endParaRPr>
          </a:p>
          <a:p>
            <a:pPr marL="0" indent="0">
              <a:buSzPts val="2400"/>
              <a:tabLst>
                <a:tab pos="457200" algn="l"/>
              </a:tabLst>
            </a:pPr>
            <a:r>
              <a:rPr lang="en-US" sz="1050" kern="100" dirty="0">
                <a:solidFill>
                  <a:schemeClr val="tx1">
                    <a:lumMod val="50000"/>
                  </a:schemeClr>
                </a:solidFill>
                <a:latin typeface="Times New Roman" panose="02020603050405020304" pitchFamily="18" charset="0"/>
                <a:cs typeface="Times New Roman" panose="02020603050405020304" pitchFamily="18" charset="0"/>
                <a:sym typeface="Passion One"/>
              </a:rPr>
              <a:t>Descriptive Insights, Predictive Insights, Operational Insights, Visual Outputs</a:t>
            </a:r>
            <a:endParaRPr sz="1050" kern="100" dirty="0">
              <a:solidFill>
                <a:schemeClr val="tx1">
                  <a:lumMod val="50000"/>
                </a:schemeClr>
              </a:solidFill>
              <a:latin typeface="Times New Roman" panose="02020603050405020304" pitchFamily="18" charset="0"/>
              <a:cs typeface="Times New Roman" panose="02020603050405020304" pitchFamily="18" charset="0"/>
              <a:sym typeface="Passion One"/>
            </a:endParaRPr>
          </a:p>
        </p:txBody>
      </p:sp>
      <p:sp>
        <p:nvSpPr>
          <p:cNvPr id="664" name="Google Shape;664;p38"/>
          <p:cNvSpPr txBox="1">
            <a:spLocks noGrp="1"/>
          </p:cNvSpPr>
          <p:nvPr>
            <p:ph type="subTitle" idx="6"/>
          </p:nvPr>
        </p:nvSpPr>
        <p:spPr>
          <a:xfrm>
            <a:off x="3200342" y="2368052"/>
            <a:ext cx="5691410" cy="1368459"/>
          </a:xfrm>
          <a:prstGeom prst="rect">
            <a:avLst/>
          </a:prstGeom>
        </p:spPr>
        <p:txBody>
          <a:bodyPr spcFirstLastPara="1" wrap="square" lIns="91425" tIns="91425" rIns="91425" bIns="91425" anchor="b" anchorCtr="0">
            <a:noAutofit/>
          </a:bodyPr>
          <a:lstStyle/>
          <a:p>
            <a:pPr marL="0" lvl="0" indent="0" algn="just" rtl="0">
              <a:spcBef>
                <a:spcPts val="0"/>
              </a:spcBef>
              <a:spcAft>
                <a:spcPts val="0"/>
              </a:spcAft>
              <a:buNone/>
            </a:pPr>
            <a:r>
              <a:rPr lang="en-US" sz="1100" b="1" dirty="0">
                <a:solidFill>
                  <a:schemeClr val="tx1">
                    <a:lumMod val="50000"/>
                  </a:schemeClr>
                </a:solidFill>
                <a:latin typeface="Times New Roman" panose="02020603050405020304" pitchFamily="18" charset="0"/>
                <a:ea typeface="Inter"/>
                <a:cs typeface="Times New Roman" panose="02020603050405020304" pitchFamily="18" charset="0"/>
              </a:rPr>
              <a:t>Problem </a:t>
            </a:r>
            <a:r>
              <a:rPr lang="en-US" sz="200" b="1" dirty="0">
                <a:solidFill>
                  <a:schemeClr val="tx1">
                    <a:lumMod val="50000"/>
                  </a:schemeClr>
                </a:solidFill>
                <a:latin typeface="Times New Roman" panose="02020603050405020304" pitchFamily="18" charset="0"/>
                <a:ea typeface="Inter"/>
                <a:cs typeface="Times New Roman" panose="02020603050405020304" pitchFamily="18" charset="0"/>
              </a:rPr>
              <a:t> </a:t>
            </a:r>
            <a:r>
              <a:rPr lang="en-US" sz="1100" b="1" dirty="0">
                <a:solidFill>
                  <a:schemeClr val="tx1">
                    <a:lumMod val="50000"/>
                  </a:schemeClr>
                </a:solidFill>
                <a:latin typeface="Times New Roman" panose="02020603050405020304" pitchFamily="18" charset="0"/>
                <a:ea typeface="Inter"/>
                <a:cs typeface="Times New Roman" panose="02020603050405020304" pitchFamily="18" charset="0"/>
              </a:rPr>
              <a:t>Statement</a:t>
            </a:r>
          </a:p>
          <a:p>
            <a:pPr marL="0" lvl="0" indent="0" algn="just" rtl="0">
              <a:spcBef>
                <a:spcPts val="0"/>
              </a:spcBef>
              <a:spcAft>
                <a:spcPts val="0"/>
              </a:spcAft>
              <a:buNone/>
            </a:pPr>
            <a:r>
              <a:rPr lang="en-US" sz="1050" kern="100" dirty="0">
                <a:solidFill>
                  <a:schemeClr val="tx1">
                    <a:lumMod val="50000"/>
                  </a:schemeClr>
                </a:solidFill>
                <a:latin typeface="Times New Roman" panose="02020603050405020304" pitchFamily="18" charset="0"/>
                <a:ea typeface="Inter"/>
                <a:cs typeface="Times New Roman" panose="02020603050405020304" pitchFamily="18" charset="0"/>
                <a:sym typeface="Inter"/>
              </a:rPr>
              <a:t>Many communities struggle to effectively prevent crime. However, police and law agencies face challenges in understanding the complex patterns and trends of crime instances. This lack of evidence-based decision-making hinders proactive crime prevention efforts. Our aim is to fill this gap by providing comprehensive insights that fulfill the demands of a safe society and eliminate crime incidents.</a:t>
            </a:r>
          </a:p>
          <a:p>
            <a:pPr marL="520700" marR="0" indent="0" algn="just">
              <a:spcBef>
                <a:spcPts val="165"/>
              </a:spcBef>
              <a:spcAft>
                <a:spcPts val="0"/>
              </a:spcAft>
              <a:tabLst>
                <a:tab pos="520700" algn="l"/>
                <a:tab pos="521335" algn="l"/>
              </a:tabLst>
            </a:pPr>
            <a:r>
              <a:rPr lang="en-US" sz="1050" kern="100" dirty="0">
                <a:solidFill>
                  <a:schemeClr val="tx1">
                    <a:lumMod val="50000"/>
                  </a:schemeClr>
                </a:solidFill>
                <a:latin typeface="Times New Roman" panose="02020603050405020304" pitchFamily="18" charset="0"/>
                <a:ea typeface="Inter"/>
                <a:cs typeface="Times New Roman" panose="02020603050405020304" pitchFamily="18" charset="0"/>
                <a:sym typeface="Inter"/>
              </a:rPr>
              <a:t> </a:t>
            </a:r>
          </a:p>
          <a:p>
            <a:pPr marL="0" lvl="0" indent="0" algn="just" rtl="0">
              <a:spcBef>
                <a:spcPts val="0"/>
              </a:spcBef>
              <a:spcAft>
                <a:spcPts val="0"/>
              </a:spcAft>
              <a:buNone/>
            </a:pPr>
            <a:endParaRPr lang="en-US" sz="200" b="1" dirty="0">
              <a:solidFill>
                <a:schemeClr val="tx1">
                  <a:lumMod val="50000"/>
                </a:schemeClr>
              </a:solidFill>
              <a:latin typeface="Times New Roman" panose="02020603050405020304" pitchFamily="18" charset="0"/>
              <a:ea typeface="Inter"/>
              <a:cs typeface="Times New Roman" panose="02020603050405020304" pitchFamily="18" charset="0"/>
            </a:endParaRPr>
          </a:p>
        </p:txBody>
      </p:sp>
      <p:grpSp>
        <p:nvGrpSpPr>
          <p:cNvPr id="665" name="Google Shape;665;p38"/>
          <p:cNvGrpSpPr/>
          <p:nvPr/>
        </p:nvGrpSpPr>
        <p:grpSpPr>
          <a:xfrm>
            <a:off x="720004" y="3261063"/>
            <a:ext cx="1689042" cy="1031912"/>
            <a:chOff x="3577367" y="1677509"/>
            <a:chExt cx="1393254" cy="851132"/>
          </a:xfrm>
        </p:grpSpPr>
        <p:sp>
          <p:nvSpPr>
            <p:cNvPr id="666" name="Google Shape;666;p38"/>
            <p:cNvSpPr/>
            <p:nvPr/>
          </p:nvSpPr>
          <p:spPr>
            <a:xfrm>
              <a:off x="3605409" y="1677509"/>
              <a:ext cx="1365212" cy="851132"/>
            </a:xfrm>
            <a:custGeom>
              <a:avLst/>
              <a:gdLst/>
              <a:ahLst/>
              <a:cxnLst/>
              <a:rect l="l" t="t" r="r" b="b"/>
              <a:pathLst>
                <a:path w="2829455" h="1764004" extrusionOk="0">
                  <a:moveTo>
                    <a:pt x="2699484" y="1764004"/>
                  </a:moveTo>
                  <a:lnTo>
                    <a:pt x="129972" y="1764004"/>
                  </a:lnTo>
                  <a:cubicBezTo>
                    <a:pt x="58187" y="1764004"/>
                    <a:pt x="0" y="1705817"/>
                    <a:pt x="0" y="1634032"/>
                  </a:cubicBezTo>
                  <a:lnTo>
                    <a:pt x="0" y="129972"/>
                  </a:lnTo>
                  <a:cubicBezTo>
                    <a:pt x="0" y="58187"/>
                    <a:pt x="58187" y="0"/>
                    <a:pt x="129972" y="0"/>
                  </a:cubicBezTo>
                  <a:lnTo>
                    <a:pt x="2699484" y="0"/>
                  </a:lnTo>
                  <a:cubicBezTo>
                    <a:pt x="2771268" y="0"/>
                    <a:pt x="2829456" y="58187"/>
                    <a:pt x="2829456" y="129972"/>
                  </a:cubicBezTo>
                  <a:lnTo>
                    <a:pt x="2829456" y="1634032"/>
                  </a:lnTo>
                  <a:cubicBezTo>
                    <a:pt x="2829379" y="1705817"/>
                    <a:pt x="2771192" y="1764004"/>
                    <a:pt x="2699484" y="1764004"/>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67" name="Google Shape;667;p38"/>
            <p:cNvSpPr/>
            <p:nvPr/>
          </p:nvSpPr>
          <p:spPr>
            <a:xfrm>
              <a:off x="4660956" y="2269904"/>
              <a:ext cx="172521" cy="33830"/>
            </a:xfrm>
            <a:custGeom>
              <a:avLst/>
              <a:gdLst/>
              <a:ahLst/>
              <a:cxnLst/>
              <a:rect l="l" t="t" r="r" b="b"/>
              <a:pathLst>
                <a:path w="357556" h="70113" extrusionOk="0">
                  <a:moveTo>
                    <a:pt x="0" y="0"/>
                  </a:moveTo>
                  <a:lnTo>
                    <a:pt x="357556" y="0"/>
                  </a:lnTo>
                  <a:lnTo>
                    <a:pt x="357556" y="70113"/>
                  </a:lnTo>
                  <a:lnTo>
                    <a:pt x="0" y="70113"/>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68" name="Google Shape;668;p38"/>
            <p:cNvSpPr/>
            <p:nvPr/>
          </p:nvSpPr>
          <p:spPr>
            <a:xfrm>
              <a:off x="4660956" y="2102017"/>
              <a:ext cx="172520" cy="127878"/>
            </a:xfrm>
            <a:custGeom>
              <a:avLst/>
              <a:gdLst/>
              <a:ahLst/>
              <a:cxnLst/>
              <a:rect l="l" t="t" r="r" b="b"/>
              <a:pathLst>
                <a:path w="357555" h="265033" extrusionOk="0">
                  <a:moveTo>
                    <a:pt x="294583" y="265034"/>
                  </a:moveTo>
                  <a:lnTo>
                    <a:pt x="62973" y="265034"/>
                  </a:lnTo>
                  <a:cubicBezTo>
                    <a:pt x="28182" y="265034"/>
                    <a:pt x="0" y="236851"/>
                    <a:pt x="0" y="202061"/>
                  </a:cubicBezTo>
                  <a:lnTo>
                    <a:pt x="0" y="62973"/>
                  </a:lnTo>
                  <a:cubicBezTo>
                    <a:pt x="0" y="28182"/>
                    <a:pt x="28182" y="0"/>
                    <a:pt x="62973" y="0"/>
                  </a:cubicBezTo>
                  <a:lnTo>
                    <a:pt x="294583" y="0"/>
                  </a:lnTo>
                  <a:cubicBezTo>
                    <a:pt x="329374" y="0"/>
                    <a:pt x="357556" y="28182"/>
                    <a:pt x="357556" y="62973"/>
                  </a:cubicBezTo>
                  <a:lnTo>
                    <a:pt x="357556" y="202061"/>
                  </a:lnTo>
                  <a:cubicBezTo>
                    <a:pt x="357556" y="236851"/>
                    <a:pt x="329374" y="265034"/>
                    <a:pt x="294583" y="265034"/>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69" name="Google Shape;669;p38"/>
            <p:cNvSpPr/>
            <p:nvPr/>
          </p:nvSpPr>
          <p:spPr>
            <a:xfrm>
              <a:off x="4660956" y="2337139"/>
              <a:ext cx="110506" cy="3665"/>
            </a:xfrm>
            <a:custGeom>
              <a:avLst/>
              <a:gdLst/>
              <a:ahLst/>
              <a:cxnLst/>
              <a:rect l="l" t="t" r="r" b="b"/>
              <a:pathLst>
                <a:path w="229027" h="7596" extrusionOk="0">
                  <a:moveTo>
                    <a:pt x="0" y="0"/>
                  </a:moveTo>
                  <a:lnTo>
                    <a:pt x="229027"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0" name="Google Shape;670;p38"/>
            <p:cNvSpPr/>
            <p:nvPr/>
          </p:nvSpPr>
          <p:spPr>
            <a:xfrm>
              <a:off x="4660956" y="2359661"/>
              <a:ext cx="110506" cy="3665"/>
            </a:xfrm>
            <a:custGeom>
              <a:avLst/>
              <a:gdLst/>
              <a:ahLst/>
              <a:cxnLst/>
              <a:rect l="l" t="t" r="r" b="b"/>
              <a:pathLst>
                <a:path w="229027" h="7596" extrusionOk="0">
                  <a:moveTo>
                    <a:pt x="0" y="0"/>
                  </a:moveTo>
                  <a:lnTo>
                    <a:pt x="229027"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1" name="Google Shape;671;p38"/>
            <p:cNvSpPr/>
            <p:nvPr/>
          </p:nvSpPr>
          <p:spPr>
            <a:xfrm>
              <a:off x="4660956" y="2382146"/>
              <a:ext cx="110506" cy="3665"/>
            </a:xfrm>
            <a:custGeom>
              <a:avLst/>
              <a:gdLst/>
              <a:ahLst/>
              <a:cxnLst/>
              <a:rect l="l" t="t" r="r" b="b"/>
              <a:pathLst>
                <a:path w="229027" h="7596" extrusionOk="0">
                  <a:moveTo>
                    <a:pt x="0" y="0"/>
                  </a:moveTo>
                  <a:lnTo>
                    <a:pt x="229027"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2" name="Google Shape;672;p38"/>
            <p:cNvSpPr/>
            <p:nvPr/>
          </p:nvSpPr>
          <p:spPr>
            <a:xfrm>
              <a:off x="4561547" y="1677509"/>
              <a:ext cx="3665" cy="851131"/>
            </a:xfrm>
            <a:custGeom>
              <a:avLst/>
              <a:gdLst/>
              <a:ahLst/>
              <a:cxnLst/>
              <a:rect l="l" t="t" r="r" b="b"/>
              <a:pathLst>
                <a:path w="7596" h="1764003" extrusionOk="0">
                  <a:moveTo>
                    <a:pt x="0" y="0"/>
                  </a:moveTo>
                  <a:lnTo>
                    <a:pt x="0" y="1764004"/>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3" name="Google Shape;673;p38"/>
            <p:cNvSpPr/>
            <p:nvPr/>
          </p:nvSpPr>
          <p:spPr>
            <a:xfrm>
              <a:off x="4402508" y="1677509"/>
              <a:ext cx="3665" cy="851131"/>
            </a:xfrm>
            <a:custGeom>
              <a:avLst/>
              <a:gdLst/>
              <a:ahLst/>
              <a:cxnLst/>
              <a:rect l="l" t="t" r="r" b="b"/>
              <a:pathLst>
                <a:path w="7596" h="1764003" extrusionOk="0">
                  <a:moveTo>
                    <a:pt x="0" y="0"/>
                  </a:moveTo>
                  <a:lnTo>
                    <a:pt x="0" y="1764004"/>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4" name="Google Shape;674;p38"/>
            <p:cNvSpPr/>
            <p:nvPr/>
          </p:nvSpPr>
          <p:spPr>
            <a:xfrm>
              <a:off x="4243504" y="1677509"/>
              <a:ext cx="3665" cy="851131"/>
            </a:xfrm>
            <a:custGeom>
              <a:avLst/>
              <a:gdLst/>
              <a:ahLst/>
              <a:cxnLst/>
              <a:rect l="l" t="t" r="r" b="b"/>
              <a:pathLst>
                <a:path w="7596" h="1764003" extrusionOk="0">
                  <a:moveTo>
                    <a:pt x="0" y="0"/>
                  </a:moveTo>
                  <a:lnTo>
                    <a:pt x="0" y="1764004"/>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5" name="Google Shape;675;p38"/>
            <p:cNvSpPr/>
            <p:nvPr/>
          </p:nvSpPr>
          <p:spPr>
            <a:xfrm>
              <a:off x="4084465" y="1677509"/>
              <a:ext cx="3665" cy="851131"/>
            </a:xfrm>
            <a:custGeom>
              <a:avLst/>
              <a:gdLst/>
              <a:ahLst/>
              <a:cxnLst/>
              <a:rect l="l" t="t" r="r" b="b"/>
              <a:pathLst>
                <a:path w="7596" h="1764003" extrusionOk="0">
                  <a:moveTo>
                    <a:pt x="0" y="0"/>
                  </a:moveTo>
                  <a:lnTo>
                    <a:pt x="0" y="1764004"/>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6" name="Google Shape;676;p38"/>
            <p:cNvSpPr/>
            <p:nvPr/>
          </p:nvSpPr>
          <p:spPr>
            <a:xfrm>
              <a:off x="3925425" y="1677509"/>
              <a:ext cx="3665" cy="851131"/>
            </a:xfrm>
            <a:custGeom>
              <a:avLst/>
              <a:gdLst/>
              <a:ahLst/>
              <a:cxnLst/>
              <a:rect l="l" t="t" r="r" b="b"/>
              <a:pathLst>
                <a:path w="7596" h="1764003" extrusionOk="0">
                  <a:moveTo>
                    <a:pt x="0" y="0"/>
                  </a:moveTo>
                  <a:lnTo>
                    <a:pt x="0" y="1764004"/>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7" name="Google Shape;677;p38"/>
            <p:cNvSpPr/>
            <p:nvPr/>
          </p:nvSpPr>
          <p:spPr>
            <a:xfrm>
              <a:off x="3766423" y="1677509"/>
              <a:ext cx="3665" cy="851131"/>
            </a:xfrm>
            <a:custGeom>
              <a:avLst/>
              <a:gdLst/>
              <a:ahLst/>
              <a:cxnLst/>
              <a:rect l="l" t="t" r="r" b="b"/>
              <a:pathLst>
                <a:path w="7596" h="1764003" extrusionOk="0">
                  <a:moveTo>
                    <a:pt x="0" y="0"/>
                  </a:moveTo>
                  <a:lnTo>
                    <a:pt x="0" y="1764004"/>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8" name="Google Shape;678;p38"/>
            <p:cNvSpPr/>
            <p:nvPr/>
          </p:nvSpPr>
          <p:spPr>
            <a:xfrm>
              <a:off x="3605409" y="1916202"/>
              <a:ext cx="958485" cy="400277"/>
            </a:xfrm>
            <a:custGeom>
              <a:avLst/>
              <a:gdLst/>
              <a:ahLst/>
              <a:cxnLst/>
              <a:rect l="l" t="t" r="r" b="b"/>
              <a:pathLst>
                <a:path w="1986498" h="829589" extrusionOk="0">
                  <a:moveTo>
                    <a:pt x="0" y="607196"/>
                  </a:moveTo>
                  <a:lnTo>
                    <a:pt x="299065" y="409465"/>
                  </a:lnTo>
                  <a:cubicBezTo>
                    <a:pt x="320486" y="395336"/>
                    <a:pt x="348289" y="395716"/>
                    <a:pt x="369330" y="410377"/>
                  </a:cubicBezTo>
                  <a:lnTo>
                    <a:pt x="590229" y="565112"/>
                  </a:lnTo>
                  <a:cubicBezTo>
                    <a:pt x="621754" y="587142"/>
                    <a:pt x="665508" y="575747"/>
                    <a:pt x="682220" y="541184"/>
                  </a:cubicBezTo>
                  <a:lnTo>
                    <a:pt x="926896" y="35273"/>
                  </a:lnTo>
                  <a:cubicBezTo>
                    <a:pt x="951508" y="-15622"/>
                    <a:pt x="1025647" y="-10228"/>
                    <a:pt x="1042663" y="43629"/>
                  </a:cubicBezTo>
                  <a:lnTo>
                    <a:pt x="1277084" y="785936"/>
                  </a:lnTo>
                  <a:cubicBezTo>
                    <a:pt x="1294251" y="840401"/>
                    <a:pt x="1369454" y="845111"/>
                    <a:pt x="1393306" y="793228"/>
                  </a:cubicBezTo>
                  <a:lnTo>
                    <a:pt x="1610635" y="321424"/>
                  </a:lnTo>
                  <a:cubicBezTo>
                    <a:pt x="1630765" y="277670"/>
                    <a:pt x="1690776" y="272277"/>
                    <a:pt x="1718426" y="311701"/>
                  </a:cubicBezTo>
                  <a:lnTo>
                    <a:pt x="1986499" y="693793"/>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79" name="Google Shape;679;p38"/>
            <p:cNvSpPr/>
            <p:nvPr/>
          </p:nvSpPr>
          <p:spPr>
            <a:xfrm>
              <a:off x="3972662" y="2024069"/>
              <a:ext cx="45595" cy="45595"/>
            </a:xfrm>
            <a:custGeom>
              <a:avLst/>
              <a:gdLst/>
              <a:ahLst/>
              <a:cxnLst/>
              <a:rect l="l" t="t" r="r" b="b"/>
              <a:pathLst>
                <a:path w="94497" h="94497" extrusionOk="0">
                  <a:moveTo>
                    <a:pt x="94497" y="47249"/>
                  </a:moveTo>
                  <a:cubicBezTo>
                    <a:pt x="94497" y="73344"/>
                    <a:pt x="73343" y="94498"/>
                    <a:pt x="47249" y="94498"/>
                  </a:cubicBezTo>
                  <a:cubicBezTo>
                    <a:pt x="21154" y="94498"/>
                    <a:pt x="0" y="73344"/>
                    <a:pt x="0" y="47249"/>
                  </a:cubicBezTo>
                  <a:cubicBezTo>
                    <a:pt x="0" y="21154"/>
                    <a:pt x="21154" y="0"/>
                    <a:pt x="47249" y="0"/>
                  </a:cubicBezTo>
                  <a:cubicBezTo>
                    <a:pt x="73343" y="0"/>
                    <a:pt x="94497" y="21154"/>
                    <a:pt x="94497" y="47249"/>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0" name="Google Shape;680;p38"/>
            <p:cNvSpPr/>
            <p:nvPr/>
          </p:nvSpPr>
          <p:spPr>
            <a:xfrm>
              <a:off x="3664089" y="1827628"/>
              <a:ext cx="317443" cy="189754"/>
            </a:xfrm>
            <a:custGeom>
              <a:avLst/>
              <a:gdLst/>
              <a:ahLst/>
              <a:cxnLst/>
              <a:rect l="l" t="t" r="r" b="b"/>
              <a:pathLst>
                <a:path w="657912" h="393272" extrusionOk="0">
                  <a:moveTo>
                    <a:pt x="622286" y="386954"/>
                  </a:moveTo>
                  <a:lnTo>
                    <a:pt x="552324" y="315397"/>
                  </a:lnTo>
                  <a:lnTo>
                    <a:pt x="50059" y="315397"/>
                  </a:lnTo>
                  <a:cubicBezTo>
                    <a:pt x="22409" y="315397"/>
                    <a:pt x="0" y="292988"/>
                    <a:pt x="0" y="265337"/>
                  </a:cubicBezTo>
                  <a:lnTo>
                    <a:pt x="0" y="50059"/>
                  </a:lnTo>
                  <a:cubicBezTo>
                    <a:pt x="0" y="22409"/>
                    <a:pt x="22409" y="0"/>
                    <a:pt x="50059" y="0"/>
                  </a:cubicBezTo>
                  <a:lnTo>
                    <a:pt x="607853" y="0"/>
                  </a:lnTo>
                  <a:cubicBezTo>
                    <a:pt x="635503" y="0"/>
                    <a:pt x="657912" y="22409"/>
                    <a:pt x="657912" y="50059"/>
                  </a:cubicBezTo>
                  <a:lnTo>
                    <a:pt x="657912" y="315397"/>
                  </a:lnTo>
                  <a:lnTo>
                    <a:pt x="657912" y="372445"/>
                  </a:lnTo>
                  <a:cubicBezTo>
                    <a:pt x="657912" y="391056"/>
                    <a:pt x="635275" y="400323"/>
                    <a:pt x="622286" y="386954"/>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1" name="Google Shape;681;p38"/>
            <p:cNvSpPr/>
            <p:nvPr/>
          </p:nvSpPr>
          <p:spPr>
            <a:xfrm>
              <a:off x="3577367" y="2429163"/>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2" name="Google Shape;682;p38"/>
            <p:cNvSpPr/>
            <p:nvPr/>
          </p:nvSpPr>
          <p:spPr>
            <a:xfrm>
              <a:off x="3577367" y="2318238"/>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3" name="Google Shape;683;p38"/>
            <p:cNvSpPr/>
            <p:nvPr/>
          </p:nvSpPr>
          <p:spPr>
            <a:xfrm>
              <a:off x="3577367" y="2207348"/>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4" name="Google Shape;684;p38"/>
            <p:cNvSpPr/>
            <p:nvPr/>
          </p:nvSpPr>
          <p:spPr>
            <a:xfrm>
              <a:off x="3577367" y="2096423"/>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5" name="Google Shape;685;p38"/>
            <p:cNvSpPr/>
            <p:nvPr/>
          </p:nvSpPr>
          <p:spPr>
            <a:xfrm>
              <a:off x="3577367" y="1985534"/>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6" name="Google Shape;686;p38"/>
            <p:cNvSpPr/>
            <p:nvPr/>
          </p:nvSpPr>
          <p:spPr>
            <a:xfrm>
              <a:off x="3577367" y="1874608"/>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7" name="Google Shape;687;p38"/>
            <p:cNvSpPr/>
            <p:nvPr/>
          </p:nvSpPr>
          <p:spPr>
            <a:xfrm>
              <a:off x="3577367" y="1763720"/>
              <a:ext cx="53842" cy="3665"/>
            </a:xfrm>
            <a:custGeom>
              <a:avLst/>
              <a:gdLst/>
              <a:ahLst/>
              <a:cxnLst/>
              <a:rect l="l" t="t" r="r" b="b"/>
              <a:pathLst>
                <a:path w="111589" h="7596" extrusionOk="0">
                  <a:moveTo>
                    <a:pt x="0" y="0"/>
                  </a:moveTo>
                  <a:lnTo>
                    <a:pt x="111589"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8" name="Google Shape;688;p38"/>
            <p:cNvSpPr/>
            <p:nvPr/>
          </p:nvSpPr>
          <p:spPr>
            <a:xfrm>
              <a:off x="4293447" y="2127573"/>
              <a:ext cx="83273" cy="83273"/>
            </a:xfrm>
            <a:custGeom>
              <a:avLst/>
              <a:gdLst/>
              <a:ahLst/>
              <a:cxnLst/>
              <a:rect l="l" t="t" r="r" b="b"/>
              <a:pathLst>
                <a:path w="172587" h="172587" extrusionOk="0">
                  <a:moveTo>
                    <a:pt x="172587" y="86294"/>
                  </a:moveTo>
                  <a:cubicBezTo>
                    <a:pt x="172587" y="133952"/>
                    <a:pt x="133952" y="172587"/>
                    <a:pt x="86293" y="172587"/>
                  </a:cubicBezTo>
                  <a:cubicBezTo>
                    <a:pt x="38635" y="172587"/>
                    <a:pt x="0" y="133952"/>
                    <a:pt x="0" y="86294"/>
                  </a:cubicBezTo>
                  <a:cubicBezTo>
                    <a:pt x="0" y="38635"/>
                    <a:pt x="38635" y="0"/>
                    <a:pt x="86293" y="0"/>
                  </a:cubicBezTo>
                  <a:cubicBezTo>
                    <a:pt x="133952" y="0"/>
                    <a:pt x="172587" y="38635"/>
                    <a:pt x="172587" y="86294"/>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89" name="Google Shape;689;p38"/>
            <p:cNvSpPr/>
            <p:nvPr/>
          </p:nvSpPr>
          <p:spPr>
            <a:xfrm>
              <a:off x="4561547" y="1738602"/>
              <a:ext cx="406653" cy="3665"/>
            </a:xfrm>
            <a:custGeom>
              <a:avLst/>
              <a:gdLst/>
              <a:ahLst/>
              <a:cxnLst/>
              <a:rect l="l" t="t" r="r" b="b"/>
              <a:pathLst>
                <a:path w="842805" h="7596" extrusionOk="0">
                  <a:moveTo>
                    <a:pt x="842805"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grpSp>
      <p:grpSp>
        <p:nvGrpSpPr>
          <p:cNvPr id="690" name="Google Shape;690;p38"/>
          <p:cNvGrpSpPr/>
          <p:nvPr/>
        </p:nvGrpSpPr>
        <p:grpSpPr>
          <a:xfrm>
            <a:off x="1611167" y="1574806"/>
            <a:ext cx="1518587" cy="1233056"/>
            <a:chOff x="7329141" y="362469"/>
            <a:chExt cx="1022136" cy="829949"/>
          </a:xfrm>
        </p:grpSpPr>
        <p:sp>
          <p:nvSpPr>
            <p:cNvPr id="691" name="Google Shape;691;p38"/>
            <p:cNvSpPr/>
            <p:nvPr/>
          </p:nvSpPr>
          <p:spPr>
            <a:xfrm>
              <a:off x="7329141" y="362469"/>
              <a:ext cx="1022136" cy="829949"/>
            </a:xfrm>
            <a:custGeom>
              <a:avLst/>
              <a:gdLst/>
              <a:ahLst/>
              <a:cxnLst/>
              <a:rect l="l" t="t" r="r" b="b"/>
              <a:pathLst>
                <a:path w="1901648" h="1544092" extrusionOk="0">
                  <a:moveTo>
                    <a:pt x="1770840" y="1544092"/>
                  </a:moveTo>
                  <a:lnTo>
                    <a:pt x="130807" y="1544092"/>
                  </a:lnTo>
                  <a:cubicBezTo>
                    <a:pt x="58567" y="1544092"/>
                    <a:pt x="0" y="1485525"/>
                    <a:pt x="0" y="1413285"/>
                  </a:cubicBezTo>
                  <a:lnTo>
                    <a:pt x="0" y="130808"/>
                  </a:lnTo>
                  <a:cubicBezTo>
                    <a:pt x="0" y="58567"/>
                    <a:pt x="58567" y="0"/>
                    <a:pt x="130807" y="0"/>
                  </a:cubicBezTo>
                  <a:lnTo>
                    <a:pt x="1770840" y="0"/>
                  </a:lnTo>
                  <a:cubicBezTo>
                    <a:pt x="1843081" y="0"/>
                    <a:pt x="1901648" y="58567"/>
                    <a:pt x="1901648" y="130808"/>
                  </a:cubicBezTo>
                  <a:lnTo>
                    <a:pt x="1901648" y="1413285"/>
                  </a:lnTo>
                  <a:cubicBezTo>
                    <a:pt x="1901648" y="1485449"/>
                    <a:pt x="1843081" y="1544092"/>
                    <a:pt x="1770840" y="154409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92" name="Google Shape;692;p38"/>
            <p:cNvSpPr/>
            <p:nvPr/>
          </p:nvSpPr>
          <p:spPr>
            <a:xfrm>
              <a:off x="7479397" y="507863"/>
              <a:ext cx="275724" cy="489918"/>
            </a:xfrm>
            <a:custGeom>
              <a:avLst/>
              <a:gdLst/>
              <a:ahLst/>
              <a:cxnLst/>
              <a:rect l="l" t="t" r="r" b="b"/>
              <a:pathLst>
                <a:path w="512975" h="911475" extrusionOk="0">
                  <a:moveTo>
                    <a:pt x="512976" y="0"/>
                  </a:moveTo>
                  <a:cubicBezTo>
                    <a:pt x="229635" y="0"/>
                    <a:pt x="0" y="229635"/>
                    <a:pt x="0" y="512976"/>
                  </a:cubicBezTo>
                  <a:cubicBezTo>
                    <a:pt x="0" y="673864"/>
                    <a:pt x="74064" y="817434"/>
                    <a:pt x="189983" y="911476"/>
                  </a:cubicBezTo>
                  <a:lnTo>
                    <a:pt x="512976" y="512976"/>
                  </a:lnTo>
                  <a:lnTo>
                    <a:pt x="512976" y="0"/>
                  </a:ln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grpSp>
          <p:nvGrpSpPr>
            <p:cNvPr id="693" name="Google Shape;693;p38"/>
            <p:cNvGrpSpPr/>
            <p:nvPr/>
          </p:nvGrpSpPr>
          <p:grpSpPr>
            <a:xfrm>
              <a:off x="7581570" y="507863"/>
              <a:ext cx="449624" cy="551756"/>
              <a:chOff x="6727477" y="1096947"/>
              <a:chExt cx="836044" cy="1025951"/>
            </a:xfrm>
          </p:grpSpPr>
          <p:sp>
            <p:nvSpPr>
              <p:cNvPr id="694" name="Google Shape;694;p38"/>
              <p:cNvSpPr/>
              <p:nvPr/>
            </p:nvSpPr>
            <p:spPr>
              <a:xfrm>
                <a:off x="7050546" y="1096947"/>
                <a:ext cx="512975" cy="1014176"/>
              </a:xfrm>
              <a:custGeom>
                <a:avLst/>
                <a:gdLst/>
                <a:ahLst/>
                <a:cxnLst/>
                <a:rect l="l" t="t" r="r" b="b"/>
                <a:pathLst>
                  <a:path w="512975" h="1014176" extrusionOk="0">
                    <a:moveTo>
                      <a:pt x="512976" y="512976"/>
                    </a:moveTo>
                    <a:cubicBezTo>
                      <a:pt x="512976" y="229635"/>
                      <a:pt x="283341" y="0"/>
                      <a:pt x="0" y="0"/>
                    </a:cubicBezTo>
                    <a:lnTo>
                      <a:pt x="0" y="512976"/>
                    </a:lnTo>
                    <a:lnTo>
                      <a:pt x="109538" y="1014177"/>
                    </a:lnTo>
                    <a:cubicBezTo>
                      <a:pt x="340161" y="963966"/>
                      <a:pt x="512976" y="758639"/>
                      <a:pt x="512976" y="512976"/>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95" name="Google Shape;695;p38"/>
              <p:cNvSpPr/>
              <p:nvPr/>
            </p:nvSpPr>
            <p:spPr>
              <a:xfrm>
                <a:off x="6727477" y="1609923"/>
                <a:ext cx="432531" cy="512975"/>
              </a:xfrm>
              <a:custGeom>
                <a:avLst/>
                <a:gdLst/>
                <a:ahLst/>
                <a:cxnLst/>
                <a:rect l="l" t="t" r="r" b="b"/>
                <a:pathLst>
                  <a:path w="432531" h="512975" extrusionOk="0">
                    <a:moveTo>
                      <a:pt x="0" y="398500"/>
                    </a:moveTo>
                    <a:cubicBezTo>
                      <a:pt x="88192" y="470057"/>
                      <a:pt x="200617" y="512976"/>
                      <a:pt x="322993" y="512976"/>
                    </a:cubicBezTo>
                    <a:cubicBezTo>
                      <a:pt x="360594" y="512976"/>
                      <a:pt x="397208" y="508874"/>
                      <a:pt x="432531" y="501201"/>
                    </a:cubicBezTo>
                    <a:lnTo>
                      <a:pt x="322993" y="0"/>
                    </a:lnTo>
                    <a:lnTo>
                      <a:pt x="0" y="398500"/>
                    </a:ln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grpSp>
        <p:sp>
          <p:nvSpPr>
            <p:cNvPr id="696" name="Google Shape;696;p38"/>
            <p:cNvSpPr/>
            <p:nvPr/>
          </p:nvSpPr>
          <p:spPr>
            <a:xfrm>
              <a:off x="7755275" y="507863"/>
              <a:ext cx="222278" cy="438881"/>
            </a:xfrm>
            <a:custGeom>
              <a:avLst/>
              <a:gdLst/>
              <a:ahLst/>
              <a:cxnLst/>
              <a:rect l="l" t="t" r="r" b="b"/>
              <a:pathLst>
                <a:path w="413540" h="816522" extrusionOk="0">
                  <a:moveTo>
                    <a:pt x="0" y="0"/>
                  </a:moveTo>
                  <a:lnTo>
                    <a:pt x="0" y="512976"/>
                  </a:lnTo>
                  <a:lnTo>
                    <a:pt x="413541" y="81652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97" name="Google Shape;697;p38"/>
            <p:cNvSpPr/>
            <p:nvPr/>
          </p:nvSpPr>
          <p:spPr>
            <a:xfrm>
              <a:off x="7918481" y="577354"/>
              <a:ext cx="207620" cy="40707"/>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98" name="Google Shape;698;p38"/>
            <p:cNvSpPr/>
            <p:nvPr/>
          </p:nvSpPr>
          <p:spPr>
            <a:xfrm>
              <a:off x="7986379" y="855683"/>
              <a:ext cx="207620" cy="40707"/>
            </a:xfrm>
            <a:custGeom>
              <a:avLst/>
              <a:gdLst/>
              <a:ahLst/>
              <a:cxnLst/>
              <a:rect l="l" t="t" r="r" b="b"/>
              <a:pathLst>
                <a:path w="386269" h="75734" extrusionOk="0">
                  <a:moveTo>
                    <a:pt x="0" y="0"/>
                  </a:moveTo>
                  <a:lnTo>
                    <a:pt x="386270" y="0"/>
                  </a:lnTo>
                  <a:lnTo>
                    <a:pt x="386270" y="75735"/>
                  </a:lnTo>
                  <a:lnTo>
                    <a:pt x="0" y="75735"/>
                  </a:ln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699" name="Google Shape;699;p38"/>
            <p:cNvSpPr/>
            <p:nvPr/>
          </p:nvSpPr>
          <p:spPr>
            <a:xfrm>
              <a:off x="8078706" y="664248"/>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700" name="Google Shape;700;p38"/>
            <p:cNvSpPr/>
            <p:nvPr/>
          </p:nvSpPr>
          <p:spPr>
            <a:xfrm>
              <a:off x="8078706" y="691415"/>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701" name="Google Shape;701;p38"/>
            <p:cNvSpPr/>
            <p:nvPr/>
          </p:nvSpPr>
          <p:spPr>
            <a:xfrm>
              <a:off x="8078706" y="718541"/>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702" name="Google Shape;702;p38"/>
            <p:cNvSpPr/>
            <p:nvPr/>
          </p:nvSpPr>
          <p:spPr>
            <a:xfrm>
              <a:off x="8078706" y="946989"/>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703" name="Google Shape;703;p38"/>
            <p:cNvSpPr/>
            <p:nvPr/>
          </p:nvSpPr>
          <p:spPr>
            <a:xfrm>
              <a:off x="8078706" y="974156"/>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sp>
          <p:nvSpPr>
            <p:cNvPr id="704" name="Google Shape;704;p38"/>
            <p:cNvSpPr/>
            <p:nvPr/>
          </p:nvSpPr>
          <p:spPr>
            <a:xfrm>
              <a:off x="8078706" y="1001323"/>
              <a:ext cx="132983" cy="4083"/>
            </a:xfrm>
            <a:custGeom>
              <a:avLst/>
              <a:gdLst/>
              <a:ahLst/>
              <a:cxnLst/>
              <a:rect l="l" t="t" r="r" b="b"/>
              <a:pathLst>
                <a:path w="247410" h="7596" extrusionOk="0">
                  <a:moveTo>
                    <a:pt x="0" y="0"/>
                  </a:moveTo>
                  <a:lnTo>
                    <a:pt x="24741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tx1">
                    <a:lumMod val="50000"/>
                  </a:schemeClr>
                </a:solidFill>
                <a:latin typeface="Times New Roman" panose="02020603050405020304" pitchFamily="18" charset="0"/>
                <a:ea typeface="Calibri"/>
                <a:cs typeface="Times New Roman" panose="02020603050405020304" pitchFamily="18" charset="0"/>
                <a:sym typeface="Calibri"/>
              </a:endParaRPr>
            </a:p>
          </p:txBody>
        </p:sp>
      </p:grpSp>
      <p:sp>
        <p:nvSpPr>
          <p:cNvPr id="5" name="Google Shape;663;p38">
            <a:extLst>
              <a:ext uri="{FF2B5EF4-FFF2-40B4-BE49-F238E27FC236}">
                <a16:creationId xmlns:a16="http://schemas.microsoft.com/office/drawing/2014/main" id="{7FD74C30-4FF8-3650-AD83-AFAEEBD874C5}"/>
              </a:ext>
            </a:extLst>
          </p:cNvPr>
          <p:cNvSpPr txBox="1">
            <a:spLocks/>
          </p:cNvSpPr>
          <p:nvPr/>
        </p:nvSpPr>
        <p:spPr>
          <a:xfrm>
            <a:off x="2440309" y="3927422"/>
            <a:ext cx="6476754" cy="64821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1pPr>
            <a:lvl2pPr marL="914400" marR="0" lvl="1"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2pPr>
            <a:lvl3pPr marL="1371600" marR="0" lvl="2"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3pPr>
            <a:lvl4pPr marL="1828800" marR="0" lvl="3"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4pPr>
            <a:lvl5pPr marL="2286000" marR="0" lvl="4"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5pPr>
            <a:lvl6pPr marL="2743200" marR="0" lvl="5"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6pPr>
            <a:lvl7pPr marL="3200400" marR="0" lvl="6"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7pPr>
            <a:lvl8pPr marL="3657600" marR="0" lvl="7"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8pPr>
            <a:lvl9pPr marL="4114800" marR="0" lvl="8"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9pPr>
          </a:lstStyle>
          <a:p>
            <a:pPr marL="0" algn="just">
              <a:spcAft>
                <a:spcPts val="800"/>
              </a:spcAft>
            </a:pPr>
            <a:r>
              <a:rPr lang="en-US" sz="1050" b="1" kern="100" dirty="0">
                <a:solidFill>
                  <a:schemeClr val="tx1">
                    <a:lumMod val="50000"/>
                  </a:schemeClr>
                </a:solidFill>
                <a:latin typeface="Times New Roman" panose="02020603050405020304" pitchFamily="18" charset="0"/>
                <a:cs typeface="Times New Roman" panose="02020603050405020304" pitchFamily="18" charset="0"/>
              </a:rPr>
              <a:t>Data Collection</a:t>
            </a:r>
          </a:p>
          <a:p>
            <a:pPr marL="0" indent="0" algn="just">
              <a:buSzPts val="2400"/>
              <a:tabLst>
                <a:tab pos="457200" algn="l"/>
              </a:tabLst>
            </a:pPr>
            <a:r>
              <a:rPr lang="en-US" sz="1050" kern="100" dirty="0">
                <a:solidFill>
                  <a:schemeClr val="tx1">
                    <a:lumMod val="50000"/>
                  </a:schemeClr>
                </a:solidFill>
                <a:latin typeface="Times New Roman" panose="02020603050405020304" pitchFamily="18" charset="0"/>
                <a:cs typeface="Times New Roman" panose="02020603050405020304" pitchFamily="18" charset="0"/>
                <a:sym typeface="Passion One"/>
              </a:rPr>
              <a:t>Dataset from official Boston government records, which included comprehensive details on crime reports filed between 2015 and 2018.</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72"/>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8A12C2-3ABB-8889-8B1D-BDA9D9203A4D}"/>
              </a:ext>
            </a:extLst>
          </p:cNvPr>
          <p:cNvGraphicFramePr>
            <a:graphicFrameLocks noChangeAspect="1"/>
          </p:cNvGraphicFramePr>
          <p:nvPr>
            <p:custDataLst>
              <p:tags r:id="rId1"/>
            </p:custDataLst>
            <p:extLst>
              <p:ext uri="{D42A27DB-BD31-4B8C-83A1-F6EECF244321}">
                <p14:modId xmlns:p14="http://schemas.microsoft.com/office/powerpoint/2010/main" val="384157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CE8A12C2-3ABB-8889-8B1D-BDA9D9203A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4" name="Google Shape;574;p35"/>
          <p:cNvSpPr txBox="1">
            <a:spLocks noGrp="1"/>
          </p:cNvSpPr>
          <p:nvPr>
            <p:ph type="title"/>
          </p:nvPr>
        </p:nvSpPr>
        <p:spPr>
          <a:xfrm>
            <a:off x="2969020" y="1920600"/>
            <a:ext cx="4150500" cy="13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US" dirty="0"/>
              <a:t>Data Analysis</a:t>
            </a:r>
            <a:br>
              <a:rPr lang="en-US" dirty="0"/>
            </a:br>
            <a:endParaRPr lang="en-US" dirty="0"/>
          </a:p>
        </p:txBody>
      </p:sp>
      <p:sp>
        <p:nvSpPr>
          <p:cNvPr id="575" name="Google Shape;575;p35"/>
          <p:cNvSpPr txBox="1">
            <a:spLocks noGrp="1"/>
          </p:cNvSpPr>
          <p:nvPr>
            <p:ph type="title" idx="2"/>
          </p:nvPr>
        </p:nvSpPr>
        <p:spPr>
          <a:xfrm>
            <a:off x="1475300" y="1690000"/>
            <a:ext cx="1294500" cy="908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2.</a:t>
            </a:r>
            <a:endParaRPr dirty="0"/>
          </a:p>
        </p:txBody>
      </p:sp>
      <p:grpSp>
        <p:nvGrpSpPr>
          <p:cNvPr id="576" name="Google Shape;576;p35"/>
          <p:cNvGrpSpPr/>
          <p:nvPr/>
        </p:nvGrpSpPr>
        <p:grpSpPr>
          <a:xfrm>
            <a:off x="7783346" y="490666"/>
            <a:ext cx="901968" cy="901968"/>
            <a:chOff x="1350404" y="-3124999"/>
            <a:chExt cx="1570279" cy="1570279"/>
          </a:xfrm>
        </p:grpSpPr>
        <p:sp>
          <p:nvSpPr>
            <p:cNvPr id="577" name="Google Shape;577;p35"/>
            <p:cNvSpPr/>
            <p:nvPr/>
          </p:nvSpPr>
          <p:spPr>
            <a:xfrm>
              <a:off x="2135530" y="-3124999"/>
              <a:ext cx="2889" cy="1570279"/>
            </a:xfrm>
            <a:custGeom>
              <a:avLst/>
              <a:gdLst/>
              <a:ahLst/>
              <a:cxnLst/>
              <a:rect l="l" t="t" r="r" b="b"/>
              <a:pathLst>
                <a:path w="2889" h="1570279" extrusionOk="0">
                  <a:moveTo>
                    <a:pt x="0" y="0"/>
                  </a:moveTo>
                  <a:lnTo>
                    <a:pt x="0" y="157028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8" name="Google Shape;578;p35"/>
            <p:cNvSpPr/>
            <p:nvPr/>
          </p:nvSpPr>
          <p:spPr>
            <a:xfrm>
              <a:off x="1350404" y="-2339874"/>
              <a:ext cx="1570279" cy="2889"/>
            </a:xfrm>
            <a:custGeom>
              <a:avLst/>
              <a:gdLst/>
              <a:ahLst/>
              <a:cxnLst/>
              <a:rect l="l" t="t" r="r" b="b"/>
              <a:pathLst>
                <a:path w="1570279" h="2889" extrusionOk="0">
                  <a:moveTo>
                    <a:pt x="1570280" y="0"/>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9" name="Google Shape;579;p35"/>
            <p:cNvSpPr/>
            <p:nvPr/>
          </p:nvSpPr>
          <p:spPr>
            <a:xfrm>
              <a:off x="1580345" y="-2895030"/>
              <a:ext cx="1110370" cy="1110341"/>
            </a:xfrm>
            <a:custGeom>
              <a:avLst/>
              <a:gdLst/>
              <a:ahLst/>
              <a:cxnLst/>
              <a:rect l="l" t="t" r="r" b="b"/>
              <a:pathLst>
                <a:path w="1110370" h="1110341" extrusionOk="0">
                  <a:moveTo>
                    <a:pt x="1110371" y="0"/>
                  </a:moveTo>
                  <a:lnTo>
                    <a:pt x="0" y="1110342"/>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0" name="Google Shape;580;p35"/>
            <p:cNvSpPr/>
            <p:nvPr/>
          </p:nvSpPr>
          <p:spPr>
            <a:xfrm>
              <a:off x="1580345" y="-2895030"/>
              <a:ext cx="1110370" cy="1110341"/>
            </a:xfrm>
            <a:custGeom>
              <a:avLst/>
              <a:gdLst/>
              <a:ahLst/>
              <a:cxnLst/>
              <a:rect l="l" t="t" r="r" b="b"/>
              <a:pathLst>
                <a:path w="1110370" h="1110341" extrusionOk="0">
                  <a:moveTo>
                    <a:pt x="1110371" y="1110342"/>
                  </a:moveTo>
                  <a:lnTo>
                    <a:pt x="0" y="0"/>
                  </a:lnTo>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grpSp>
        <p:nvGrpSpPr>
          <p:cNvPr id="581" name="Google Shape;581;p35"/>
          <p:cNvGrpSpPr/>
          <p:nvPr/>
        </p:nvGrpSpPr>
        <p:grpSpPr>
          <a:xfrm>
            <a:off x="713029" y="3447254"/>
            <a:ext cx="1266652" cy="1056012"/>
            <a:chOff x="5378191" y="1701500"/>
            <a:chExt cx="611171" cy="509535"/>
          </a:xfrm>
        </p:grpSpPr>
        <p:sp>
          <p:nvSpPr>
            <p:cNvPr id="582" name="Google Shape;582;p35"/>
            <p:cNvSpPr/>
            <p:nvPr/>
          </p:nvSpPr>
          <p:spPr>
            <a:xfrm>
              <a:off x="5378191" y="1701500"/>
              <a:ext cx="611171" cy="509535"/>
            </a:xfrm>
            <a:custGeom>
              <a:avLst/>
              <a:gdLst/>
              <a:ahLst/>
              <a:cxnLst/>
              <a:rect l="l" t="t" r="r" b="b"/>
              <a:pathLst>
                <a:path w="1266676" h="1056032" extrusionOk="0">
                  <a:moveTo>
                    <a:pt x="1101761" y="1056032"/>
                  </a:moveTo>
                  <a:lnTo>
                    <a:pt x="164915" y="1056032"/>
                  </a:lnTo>
                  <a:cubicBezTo>
                    <a:pt x="73835" y="1056032"/>
                    <a:pt x="0" y="982197"/>
                    <a:pt x="0" y="891118"/>
                  </a:cubicBezTo>
                  <a:lnTo>
                    <a:pt x="0" y="164915"/>
                  </a:lnTo>
                  <a:cubicBezTo>
                    <a:pt x="0" y="73836"/>
                    <a:pt x="73835" y="0"/>
                    <a:pt x="164915" y="0"/>
                  </a:cubicBezTo>
                  <a:lnTo>
                    <a:pt x="1101761" y="0"/>
                  </a:lnTo>
                  <a:cubicBezTo>
                    <a:pt x="1192841" y="0"/>
                    <a:pt x="1266677" y="73836"/>
                    <a:pt x="1266677" y="164915"/>
                  </a:cubicBezTo>
                  <a:lnTo>
                    <a:pt x="1266677" y="891118"/>
                  </a:lnTo>
                  <a:cubicBezTo>
                    <a:pt x="1266677" y="982197"/>
                    <a:pt x="1192841" y="1056032"/>
                    <a:pt x="1101761" y="1056032"/>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3" name="Google Shape;583;p35"/>
            <p:cNvSpPr/>
            <p:nvPr/>
          </p:nvSpPr>
          <p:spPr>
            <a:xfrm>
              <a:off x="5497928" y="1776815"/>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4" name="Google Shape;584;p35"/>
            <p:cNvSpPr/>
            <p:nvPr/>
          </p:nvSpPr>
          <p:spPr>
            <a:xfrm>
              <a:off x="5608451" y="1776815"/>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5" name="Google Shape;585;p35"/>
            <p:cNvSpPr/>
            <p:nvPr/>
          </p:nvSpPr>
          <p:spPr>
            <a:xfrm>
              <a:off x="571901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6" name="Google Shape;586;p35"/>
            <p:cNvSpPr/>
            <p:nvPr/>
          </p:nvSpPr>
          <p:spPr>
            <a:xfrm>
              <a:off x="5829571" y="1776815"/>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7" name="Google Shape;587;p35"/>
            <p:cNvSpPr/>
            <p:nvPr/>
          </p:nvSpPr>
          <p:spPr>
            <a:xfrm>
              <a:off x="5497928" y="1882549"/>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8" name="Google Shape;588;p35"/>
            <p:cNvSpPr/>
            <p:nvPr/>
          </p:nvSpPr>
          <p:spPr>
            <a:xfrm>
              <a:off x="5608451" y="1882549"/>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89" name="Google Shape;589;p35"/>
            <p:cNvSpPr/>
            <p:nvPr/>
          </p:nvSpPr>
          <p:spPr>
            <a:xfrm>
              <a:off x="571901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rgbClr val="6E6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0" name="Google Shape;590;p35"/>
            <p:cNvSpPr/>
            <p:nvPr/>
          </p:nvSpPr>
          <p:spPr>
            <a:xfrm>
              <a:off x="5829571" y="1882549"/>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1" name="Google Shape;591;p35"/>
            <p:cNvSpPr/>
            <p:nvPr/>
          </p:nvSpPr>
          <p:spPr>
            <a:xfrm>
              <a:off x="5497928" y="198832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2" name="Google Shape;592;p35"/>
            <p:cNvSpPr/>
            <p:nvPr/>
          </p:nvSpPr>
          <p:spPr>
            <a:xfrm>
              <a:off x="5608451" y="198832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3" name="Google Shape;593;p35"/>
            <p:cNvSpPr/>
            <p:nvPr/>
          </p:nvSpPr>
          <p:spPr>
            <a:xfrm>
              <a:off x="571901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4" name="Google Shape;594;p35"/>
            <p:cNvSpPr/>
            <p:nvPr/>
          </p:nvSpPr>
          <p:spPr>
            <a:xfrm>
              <a:off x="5829571" y="198832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5" name="Google Shape;595;p35"/>
            <p:cNvSpPr/>
            <p:nvPr/>
          </p:nvSpPr>
          <p:spPr>
            <a:xfrm>
              <a:off x="5497928" y="2094090"/>
              <a:ext cx="34526" cy="34526"/>
            </a:xfrm>
            <a:custGeom>
              <a:avLst/>
              <a:gdLst/>
              <a:ahLst/>
              <a:cxnLst/>
              <a:rect l="l" t="t" r="r" b="b"/>
              <a:pathLst>
                <a:path w="71556" h="71556" extrusionOk="0">
                  <a:moveTo>
                    <a:pt x="71556" y="35778"/>
                  </a:moveTo>
                  <a:cubicBezTo>
                    <a:pt x="71556" y="16028"/>
                    <a:pt x="55528" y="0"/>
                    <a:pt x="35778" y="0"/>
                  </a:cubicBezTo>
                  <a:cubicBezTo>
                    <a:pt x="16028" y="0"/>
                    <a:pt x="0" y="16028"/>
                    <a:pt x="0" y="35778"/>
                  </a:cubicBezTo>
                  <a:cubicBezTo>
                    <a:pt x="0" y="55529"/>
                    <a:pt x="16028" y="71557"/>
                    <a:pt x="35778" y="71557"/>
                  </a:cubicBezTo>
                  <a:cubicBezTo>
                    <a:pt x="55528" y="71557"/>
                    <a:pt x="71556" y="55529"/>
                    <a:pt x="71556" y="35778"/>
                  </a:cubicBezTo>
                  <a:close/>
                </a:path>
              </a:pathLst>
            </a:custGeom>
            <a:solidFill>
              <a:schemeClr val="l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6" name="Google Shape;596;p35"/>
            <p:cNvSpPr/>
            <p:nvPr/>
          </p:nvSpPr>
          <p:spPr>
            <a:xfrm>
              <a:off x="5608451" y="2094090"/>
              <a:ext cx="34526" cy="34526"/>
            </a:xfrm>
            <a:custGeom>
              <a:avLst/>
              <a:gdLst/>
              <a:ahLst/>
              <a:cxnLst/>
              <a:rect l="l" t="t" r="r" b="b"/>
              <a:pathLst>
                <a:path w="71557" h="71556" extrusionOk="0">
                  <a:moveTo>
                    <a:pt x="71557" y="35778"/>
                  </a:moveTo>
                  <a:cubicBezTo>
                    <a:pt x="71557" y="16028"/>
                    <a:pt x="55528" y="0"/>
                    <a:pt x="35778" y="0"/>
                  </a:cubicBezTo>
                  <a:cubicBezTo>
                    <a:pt x="16028" y="0"/>
                    <a:pt x="0" y="16028"/>
                    <a:pt x="0" y="35778"/>
                  </a:cubicBezTo>
                  <a:cubicBezTo>
                    <a:pt x="0" y="55529"/>
                    <a:pt x="16028" y="71557"/>
                    <a:pt x="35778" y="71557"/>
                  </a:cubicBezTo>
                  <a:cubicBezTo>
                    <a:pt x="55528"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7" name="Google Shape;597;p35"/>
            <p:cNvSpPr/>
            <p:nvPr/>
          </p:nvSpPr>
          <p:spPr>
            <a:xfrm>
              <a:off x="571901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98" name="Google Shape;598;p35"/>
            <p:cNvSpPr/>
            <p:nvPr/>
          </p:nvSpPr>
          <p:spPr>
            <a:xfrm>
              <a:off x="5829571" y="2094090"/>
              <a:ext cx="34526" cy="34526"/>
            </a:xfrm>
            <a:custGeom>
              <a:avLst/>
              <a:gdLst/>
              <a:ahLst/>
              <a:cxnLst/>
              <a:rect l="l" t="t" r="r" b="b"/>
              <a:pathLst>
                <a:path w="71557" h="71556" extrusionOk="0">
                  <a:moveTo>
                    <a:pt x="71557" y="35778"/>
                  </a:moveTo>
                  <a:cubicBezTo>
                    <a:pt x="71557" y="16028"/>
                    <a:pt x="55529" y="0"/>
                    <a:pt x="35778" y="0"/>
                  </a:cubicBezTo>
                  <a:cubicBezTo>
                    <a:pt x="16028" y="0"/>
                    <a:pt x="0" y="16028"/>
                    <a:pt x="0" y="35778"/>
                  </a:cubicBezTo>
                  <a:cubicBezTo>
                    <a:pt x="0" y="55529"/>
                    <a:pt x="16028" y="71557"/>
                    <a:pt x="35778" y="71557"/>
                  </a:cubicBezTo>
                  <a:cubicBezTo>
                    <a:pt x="55529" y="71557"/>
                    <a:pt x="71557" y="55529"/>
                    <a:pt x="71557" y="35778"/>
                  </a:cubicBezTo>
                  <a:close/>
                </a:path>
              </a:pathLst>
            </a:custGeom>
            <a:noFill/>
            <a:ln w="952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Tree>
    <p:extLst>
      <p:ext uri="{BB962C8B-B14F-4D97-AF65-F5344CB8AC3E}">
        <p14:creationId xmlns:p14="http://schemas.microsoft.com/office/powerpoint/2010/main" val="2127572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extLst>
              <p:ext uri="{D42A27DB-BD31-4B8C-83A1-F6EECF244321}">
                <p14:modId xmlns:p14="http://schemas.microsoft.com/office/powerpoint/2010/main" val="324006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Data Analysis ( Python )</a:t>
            </a:r>
            <a:endParaRPr lang="en-US" dirty="0"/>
          </a:p>
        </p:txBody>
      </p:sp>
      <p:pic>
        <p:nvPicPr>
          <p:cNvPr id="5" name="Picture 4" descr="A screenshot of a computer&#10;&#10;Description automatically generated">
            <a:extLst>
              <a:ext uri="{FF2B5EF4-FFF2-40B4-BE49-F238E27FC236}">
                <a16:creationId xmlns:a16="http://schemas.microsoft.com/office/drawing/2014/main" id="{1A5007FA-4BA2-76EC-68B6-EA3C1D97E1BE}"/>
              </a:ext>
            </a:extLst>
          </p:cNvPr>
          <p:cNvPicPr>
            <a:picLocks noChangeAspect="1"/>
          </p:cNvPicPr>
          <p:nvPr/>
        </p:nvPicPr>
        <p:blipFill>
          <a:blip r:embed="rId6"/>
          <a:stretch>
            <a:fillRect/>
          </a:stretch>
        </p:blipFill>
        <p:spPr>
          <a:xfrm>
            <a:off x="662400" y="765725"/>
            <a:ext cx="7994340" cy="4184749"/>
          </a:xfrm>
          <a:prstGeom prst="rect">
            <a:avLst/>
          </a:prstGeom>
        </p:spPr>
      </p:pic>
    </p:spTree>
    <p:extLst>
      <p:ext uri="{BB962C8B-B14F-4D97-AF65-F5344CB8AC3E}">
        <p14:creationId xmlns:p14="http://schemas.microsoft.com/office/powerpoint/2010/main" val="442289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Data Analysis ( Python )</a:t>
            </a:r>
            <a:endParaRPr lang="en-US" dirty="0"/>
          </a:p>
        </p:txBody>
      </p:sp>
      <p:pic>
        <p:nvPicPr>
          <p:cNvPr id="5" name="Picture 4">
            <a:extLst>
              <a:ext uri="{FF2B5EF4-FFF2-40B4-BE49-F238E27FC236}">
                <a16:creationId xmlns:a16="http://schemas.microsoft.com/office/drawing/2014/main" id="{7A224ECA-DD55-C4A2-4F4D-9A7F7F2CDC1D}"/>
              </a:ext>
            </a:extLst>
          </p:cNvPr>
          <p:cNvPicPr>
            <a:picLocks noChangeAspect="1"/>
          </p:cNvPicPr>
          <p:nvPr/>
        </p:nvPicPr>
        <p:blipFill>
          <a:blip r:embed="rId6"/>
          <a:stretch>
            <a:fillRect/>
          </a:stretch>
        </p:blipFill>
        <p:spPr>
          <a:xfrm>
            <a:off x="476250" y="1778400"/>
            <a:ext cx="8191500" cy="1221975"/>
          </a:xfrm>
          <a:prstGeom prst="rect">
            <a:avLst/>
          </a:prstGeom>
        </p:spPr>
      </p:pic>
    </p:spTree>
    <p:extLst>
      <p:ext uri="{BB962C8B-B14F-4D97-AF65-F5344CB8AC3E}">
        <p14:creationId xmlns:p14="http://schemas.microsoft.com/office/powerpoint/2010/main" val="2949267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5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51B9C41-B32D-F831-041A-A149B182E9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F51B9C41-B32D-F831-041A-A149B182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30FF08D-5A6F-3B3F-7E06-0625D8541C41}"/>
              </a:ext>
            </a:extLst>
          </p:cNvPr>
          <p:cNvSpPr>
            <a:spLocks noGrp="1"/>
          </p:cNvSpPr>
          <p:nvPr>
            <p:ph type="title"/>
          </p:nvPr>
        </p:nvSpPr>
        <p:spPr>
          <a:xfrm>
            <a:off x="180000" y="193025"/>
            <a:ext cx="7704000" cy="572700"/>
          </a:xfrm>
        </p:spPr>
        <p:txBody>
          <a:bodyPr vert="horz"/>
          <a:lstStyle/>
          <a:p>
            <a:r>
              <a:rPr lang="en" dirty="0"/>
              <a:t>Data Analysis ( Python )</a:t>
            </a:r>
            <a:endParaRPr lang="en-US" dirty="0"/>
          </a:p>
        </p:txBody>
      </p:sp>
      <p:pic>
        <p:nvPicPr>
          <p:cNvPr id="5" name="Picture 4">
            <a:extLst>
              <a:ext uri="{FF2B5EF4-FFF2-40B4-BE49-F238E27FC236}">
                <a16:creationId xmlns:a16="http://schemas.microsoft.com/office/drawing/2014/main" id="{6D5FD6EA-9881-CB42-CC20-B2346340B58B}"/>
              </a:ext>
            </a:extLst>
          </p:cNvPr>
          <p:cNvPicPr>
            <a:picLocks noChangeAspect="1"/>
          </p:cNvPicPr>
          <p:nvPr/>
        </p:nvPicPr>
        <p:blipFill>
          <a:blip r:embed="rId6"/>
          <a:stretch>
            <a:fillRect/>
          </a:stretch>
        </p:blipFill>
        <p:spPr>
          <a:xfrm>
            <a:off x="784800" y="1713600"/>
            <a:ext cx="7804800" cy="1269301"/>
          </a:xfrm>
          <a:prstGeom prst="rect">
            <a:avLst/>
          </a:prstGeom>
        </p:spPr>
      </p:pic>
    </p:spTree>
    <p:extLst>
      <p:ext uri="{BB962C8B-B14F-4D97-AF65-F5344CB8AC3E}">
        <p14:creationId xmlns:p14="http://schemas.microsoft.com/office/powerpoint/2010/main" val="28821595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ta Analysis and Statistics - 4th grade by Slidesgo">
  <a:themeElements>
    <a:clrScheme name="Simple Light">
      <a:dk1>
        <a:srgbClr val="17175A"/>
      </a:dk1>
      <a:lt1>
        <a:srgbClr val="FFFFFF"/>
      </a:lt1>
      <a:dk2>
        <a:srgbClr val="F6F2CC"/>
      </a:dk2>
      <a:lt2>
        <a:srgbClr val="FCBD0E"/>
      </a:lt2>
      <a:accent1>
        <a:srgbClr val="FA9D02"/>
      </a:accent1>
      <a:accent2>
        <a:srgbClr val="FC81FD"/>
      </a:accent2>
      <a:accent3>
        <a:srgbClr val="7CE1CF"/>
      </a:accent3>
      <a:accent4>
        <a:srgbClr val="6E6FFF"/>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25</TotalTime>
  <Words>728</Words>
  <Application>Microsoft Office PowerPoint</Application>
  <PresentationFormat>On-screen Show (16:9)</PresentationFormat>
  <Paragraphs>89</Paragraphs>
  <Slides>25</Slides>
  <Notes>2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Inter</vt:lpstr>
      <vt:lpstr>Bebas Neue</vt:lpstr>
      <vt:lpstr>Passion One</vt:lpstr>
      <vt:lpstr>Darker Grotesque SemiBold</vt:lpstr>
      <vt:lpstr>Times New Roman</vt:lpstr>
      <vt:lpstr>Aptos</vt:lpstr>
      <vt:lpstr>Arial</vt:lpstr>
      <vt:lpstr>Calibri</vt:lpstr>
      <vt:lpstr>Data Analysis and Statistics - 4th grade by Slidesgo</vt:lpstr>
      <vt:lpstr>think-cell Slide</vt:lpstr>
      <vt:lpstr>Data Analysis on Boston Crime Record Prepared By Mariem Ahmed Elhoseny Mariem Hossam Mahmoud Omar Mohamed Elemary Rokaya Mahmoud Shama Weaam Ahmed Abdelmoniem </vt:lpstr>
      <vt:lpstr>Acknowlegment</vt:lpstr>
      <vt:lpstr>Agenda</vt:lpstr>
      <vt:lpstr>Project Overview </vt:lpstr>
      <vt:lpstr>Project Overview</vt:lpstr>
      <vt:lpstr>Data Analysis </vt:lpstr>
      <vt:lpstr>Data Analysis ( Python )</vt:lpstr>
      <vt:lpstr>Data Analysis ( Python )</vt:lpstr>
      <vt:lpstr>Data Analysis ( Python )</vt:lpstr>
      <vt:lpstr>Data Analysis ( Python )</vt:lpstr>
      <vt:lpstr>Data Analysis ( Excel - Pivot Tables )</vt:lpstr>
      <vt:lpstr>Data Analysis ( Excel - Pivot Tables )</vt:lpstr>
      <vt:lpstr>        Data Visualization</vt:lpstr>
      <vt:lpstr>The following dashboard answer these questions and even more:</vt:lpstr>
      <vt:lpstr>Figure 1  (  Crime Dashboard )</vt:lpstr>
      <vt:lpstr>Figure 2  ( UCR )</vt:lpstr>
      <vt:lpstr>Figure 3 (  Top 10 Crimes )</vt:lpstr>
      <vt:lpstr>Figure 4 ( Crimes Over Months )</vt:lpstr>
      <vt:lpstr>Figure 5 ( Crimes Over Street )</vt:lpstr>
      <vt:lpstr>Figure 6 ( Crimes Over Days of the Week)</vt:lpstr>
      <vt:lpstr>Figure 7 ( Crimes Over Years )</vt:lpstr>
      <vt:lpstr>        Conclusion</vt:lpstr>
      <vt:lpstr>Conclusion</vt:lpstr>
      <vt:lpstr>Recommendations</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Weaam Abdelmoniem</dc:creator>
  <cp:lastModifiedBy>Weaam Abdelmoniem</cp:lastModifiedBy>
  <cp:revision>14</cp:revision>
  <dcterms:modified xsi:type="dcterms:W3CDTF">2024-10-25T15:59:20Z</dcterms:modified>
</cp:coreProperties>
</file>